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56" r:id="rId2"/>
    <p:sldId id="269" r:id="rId3"/>
    <p:sldId id="257" r:id="rId4"/>
    <p:sldId id="285" r:id="rId5"/>
    <p:sldId id="282" r:id="rId6"/>
    <p:sldId id="283" r:id="rId7"/>
    <p:sldId id="306" r:id="rId8"/>
    <p:sldId id="309" r:id="rId9"/>
    <p:sldId id="311" r:id="rId10"/>
    <p:sldId id="261" r:id="rId11"/>
  </p:sldIdLst>
  <p:sldSz cx="12192000" cy="6858000"/>
  <p:notesSz cx="6858000" cy="9144000"/>
  <p:custDataLst>
    <p:tags r:id="rId1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B2515"/>
    <a:srgbClr val="D3232A"/>
    <a:srgbClr val="46130F"/>
    <a:srgbClr val="AF0203"/>
    <a:srgbClr val="D98201"/>
    <a:srgbClr val="E0E0E0"/>
    <a:srgbClr val="D99101"/>
    <a:srgbClr val="E59901"/>
    <a:srgbClr val="FEAA02"/>
    <a:srgbClr val="FEC9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8D230F3-CF80-4859-8CE7-A43EE81993B5}" styleName="浅色样式 1 - 强调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浅色样式 1 - 强调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84E427A-3D55-4303-BF80-6455036E1DE7}" styleName="主题样式 1 - 强调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主题样式 1 - 强调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C2FFA5D-87B4-456A-9821-1D502468CF0F}" styleName="主题样式 1 - 强调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84" autoAdjust="0"/>
    <p:restoredTop sz="96182" autoAdjust="0"/>
  </p:normalViewPr>
  <p:slideViewPr>
    <p:cSldViewPr snapToGrid="0">
      <p:cViewPr varScale="1">
        <p:scale>
          <a:sx n="88" d="100"/>
          <a:sy n="88" d="100"/>
        </p:scale>
        <p:origin x="72" y="45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3" d="100"/>
          <a:sy n="83" d="100"/>
        </p:scale>
        <p:origin x="2550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0/7/8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7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8974D2E2-7ACA-4BE9-912A-DB1559DC97C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rcRect/>
            <a:stretch>
              <a:fillRect l="-50713" t="-39313" b="-3931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任意多边形: 形状 16">
            <a:extLst>
              <a:ext uri="{FF2B5EF4-FFF2-40B4-BE49-F238E27FC236}">
                <a16:creationId xmlns:a16="http://schemas.microsoft.com/office/drawing/2014/main" id="{A2AD71D5-2247-4B77-A3C0-3DFF187B445E}"/>
              </a:ext>
            </a:extLst>
          </p:cNvPr>
          <p:cNvSpPr/>
          <p:nvPr userDrawn="1"/>
        </p:nvSpPr>
        <p:spPr>
          <a:xfrm>
            <a:off x="-1" y="1213589"/>
            <a:ext cx="12190776" cy="5649308"/>
          </a:xfrm>
          <a:custGeom>
            <a:avLst/>
            <a:gdLst>
              <a:gd name="connsiteX0" fmla="*/ 0 w 12190776"/>
              <a:gd name="connsiteY0" fmla="*/ 0 h 5649308"/>
              <a:gd name="connsiteX1" fmla="*/ 4503451 w 12190776"/>
              <a:gd name="connsiteY1" fmla="*/ 2715046 h 5649308"/>
              <a:gd name="connsiteX2" fmla="*/ 6682343 w 12190776"/>
              <a:gd name="connsiteY2" fmla="*/ 1380781 h 5649308"/>
              <a:gd name="connsiteX3" fmla="*/ 12190776 w 12190776"/>
              <a:gd name="connsiteY3" fmla="*/ 3787354 h 5649308"/>
              <a:gd name="connsiteX4" fmla="*/ 12190776 w 12190776"/>
              <a:gd name="connsiteY4" fmla="*/ 3996777 h 5649308"/>
              <a:gd name="connsiteX5" fmla="*/ 12190776 w 12190776"/>
              <a:gd name="connsiteY5" fmla="*/ 5439885 h 5649308"/>
              <a:gd name="connsiteX6" fmla="*/ 12190776 w 12190776"/>
              <a:gd name="connsiteY6" fmla="*/ 5649308 h 5649308"/>
              <a:gd name="connsiteX7" fmla="*/ 0 w 12190776"/>
              <a:gd name="connsiteY7" fmla="*/ 5649308 h 5649308"/>
              <a:gd name="connsiteX8" fmla="*/ 0 w 12190776"/>
              <a:gd name="connsiteY8" fmla="*/ 5439885 h 5649308"/>
              <a:gd name="connsiteX9" fmla="*/ 0 w 12190776"/>
              <a:gd name="connsiteY9" fmla="*/ 209423 h 5649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0776" h="5649308">
                <a:moveTo>
                  <a:pt x="0" y="0"/>
                </a:moveTo>
                <a:cubicBezTo>
                  <a:pt x="0" y="0"/>
                  <a:pt x="2794612" y="2656289"/>
                  <a:pt x="4503451" y="2715046"/>
                </a:cubicBezTo>
                <a:cubicBezTo>
                  <a:pt x="5568415" y="2751769"/>
                  <a:pt x="5641860" y="1539913"/>
                  <a:pt x="6682343" y="1380781"/>
                </a:cubicBezTo>
                <a:cubicBezTo>
                  <a:pt x="8328752" y="1128617"/>
                  <a:pt x="12190776" y="3787354"/>
                  <a:pt x="12190776" y="3787354"/>
                </a:cubicBezTo>
                <a:lnTo>
                  <a:pt x="12190776" y="3996777"/>
                </a:lnTo>
                <a:lnTo>
                  <a:pt x="12190776" y="5439885"/>
                </a:lnTo>
                <a:lnTo>
                  <a:pt x="12190776" y="5649308"/>
                </a:lnTo>
                <a:lnTo>
                  <a:pt x="0" y="5649308"/>
                </a:lnTo>
                <a:lnTo>
                  <a:pt x="0" y="5439885"/>
                </a:lnTo>
                <a:lnTo>
                  <a:pt x="0" y="209423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  <a:ln w="1224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4A8ABBC3-E095-4685-A5FE-2A57C9DE220B}"/>
              </a:ext>
            </a:extLst>
          </p:cNvPr>
          <p:cNvSpPr/>
          <p:nvPr/>
        </p:nvSpPr>
        <p:spPr>
          <a:xfrm>
            <a:off x="2330679" y="2577590"/>
            <a:ext cx="8409542" cy="1505639"/>
          </a:xfrm>
          <a:custGeom>
            <a:avLst/>
            <a:gdLst>
              <a:gd name="connsiteX0" fmla="*/ 2172771 w 8409542"/>
              <a:gd name="connsiteY0" fmla="*/ 1510178 h 1505638"/>
              <a:gd name="connsiteX1" fmla="*/ 4400627 w 8409542"/>
              <a:gd name="connsiteY1" fmla="*/ 126949 h 1505638"/>
              <a:gd name="connsiteX2" fmla="*/ 8419335 w 8409542"/>
              <a:gd name="connsiteY2" fmla="*/ 1517522 h 1505638"/>
              <a:gd name="connsiteX3" fmla="*/ 4351663 w 8409542"/>
              <a:gd name="connsiteY3" fmla="*/ 16780 h 1505638"/>
              <a:gd name="connsiteX4" fmla="*/ 2172771 w 8409542"/>
              <a:gd name="connsiteY4" fmla="*/ 1351045 h 1505638"/>
              <a:gd name="connsiteX5" fmla="*/ 0 w 8409542"/>
              <a:gd name="connsiteY5" fmla="*/ 468472 h 1505638"/>
              <a:gd name="connsiteX6" fmla="*/ 2172771 w 8409542"/>
              <a:gd name="connsiteY6" fmla="*/ 1510178 h 1505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09542" h="1505638">
                <a:moveTo>
                  <a:pt x="2172771" y="1510178"/>
                </a:moveTo>
                <a:cubicBezTo>
                  <a:pt x="3237735" y="1546901"/>
                  <a:pt x="3360145" y="286081"/>
                  <a:pt x="4400627" y="126949"/>
                </a:cubicBezTo>
                <a:cubicBezTo>
                  <a:pt x="5389697" y="-24839"/>
                  <a:pt x="7162188" y="819787"/>
                  <a:pt x="8419335" y="1517522"/>
                </a:cubicBezTo>
                <a:cubicBezTo>
                  <a:pt x="7147499" y="773272"/>
                  <a:pt x="5345629" y="-135008"/>
                  <a:pt x="4351663" y="16780"/>
                </a:cubicBezTo>
                <a:cubicBezTo>
                  <a:pt x="3311181" y="175913"/>
                  <a:pt x="3237735" y="1387768"/>
                  <a:pt x="2172771" y="1351045"/>
                </a:cubicBezTo>
                <a:cubicBezTo>
                  <a:pt x="1532569" y="1329012"/>
                  <a:pt x="740578" y="942197"/>
                  <a:pt x="0" y="468472"/>
                </a:cubicBezTo>
                <a:cubicBezTo>
                  <a:pt x="740578" y="1031556"/>
                  <a:pt x="1533793" y="1488144"/>
                  <a:pt x="2172771" y="1510178"/>
                </a:cubicBezTo>
                <a:close/>
              </a:path>
            </a:pathLst>
          </a:custGeom>
          <a:solidFill>
            <a:schemeClr val="bg1"/>
          </a:solidFill>
          <a:ln w="1224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355D0C17-4C29-4155-9861-A69692C6EF2D}"/>
              </a:ext>
            </a:extLst>
          </p:cNvPr>
          <p:cNvSpPr/>
          <p:nvPr/>
        </p:nvSpPr>
        <p:spPr>
          <a:xfrm>
            <a:off x="2411470" y="1774104"/>
            <a:ext cx="9780530" cy="2888867"/>
          </a:xfrm>
          <a:custGeom>
            <a:avLst/>
            <a:gdLst>
              <a:gd name="connsiteX0" fmla="*/ 4148463 w 9780530"/>
              <a:gd name="connsiteY0" fmla="*/ 17974 h 2888867"/>
              <a:gd name="connsiteX1" fmla="*/ 1845937 w 9780530"/>
              <a:gd name="connsiteY1" fmla="*/ 1446494 h 2888867"/>
              <a:gd name="connsiteX2" fmla="*/ 0 w 9780530"/>
              <a:gd name="connsiteY2" fmla="*/ 829549 h 2888867"/>
              <a:gd name="connsiteX3" fmla="*/ 1920607 w 9780530"/>
              <a:gd name="connsiteY3" fmla="*/ 1630109 h 2888867"/>
              <a:gd name="connsiteX4" fmla="*/ 4186410 w 9780530"/>
              <a:gd name="connsiteY4" fmla="*/ 240759 h 2888867"/>
              <a:gd name="connsiteX5" fmla="*/ 9780530 w 9780530"/>
              <a:gd name="connsiteY5" fmla="*/ 2895824 h 2888867"/>
              <a:gd name="connsiteX6" fmla="*/ 9780530 w 9780530"/>
              <a:gd name="connsiteY6" fmla="*/ 2594697 h 2888867"/>
              <a:gd name="connsiteX7" fmla="*/ 4148463 w 9780530"/>
              <a:gd name="connsiteY7" fmla="*/ 17974 h 2888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780530" h="2888867">
                <a:moveTo>
                  <a:pt x="4148463" y="17974"/>
                </a:moveTo>
                <a:cubicBezTo>
                  <a:pt x="3084723" y="188123"/>
                  <a:pt x="2934159" y="1485665"/>
                  <a:pt x="1845937" y="1446494"/>
                </a:cubicBezTo>
                <a:cubicBezTo>
                  <a:pt x="1293870" y="1426908"/>
                  <a:pt x="637754" y="1171072"/>
                  <a:pt x="0" y="829549"/>
                </a:cubicBezTo>
                <a:cubicBezTo>
                  <a:pt x="667133" y="1273896"/>
                  <a:pt x="1352627" y="1609299"/>
                  <a:pt x="1920607" y="1630109"/>
                </a:cubicBezTo>
                <a:cubicBezTo>
                  <a:pt x="3010053" y="1669280"/>
                  <a:pt x="3122670" y="410909"/>
                  <a:pt x="4186410" y="240759"/>
                </a:cubicBezTo>
                <a:cubicBezTo>
                  <a:pt x="5869542" y="-28542"/>
                  <a:pt x="9780530" y="2895824"/>
                  <a:pt x="9780530" y="2895824"/>
                </a:cubicBezTo>
                <a:lnTo>
                  <a:pt x="9780530" y="2594697"/>
                </a:lnTo>
                <a:cubicBezTo>
                  <a:pt x="9779306" y="2594697"/>
                  <a:pt x="5831596" y="-251328"/>
                  <a:pt x="4148463" y="17974"/>
                </a:cubicBezTo>
                <a:close/>
              </a:path>
            </a:pathLst>
          </a:custGeom>
          <a:solidFill>
            <a:schemeClr val="accent1">
              <a:alpha val="80000"/>
            </a:schemeClr>
          </a:solidFill>
          <a:ln w="1224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099" y="5644410"/>
            <a:ext cx="8940801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rgbClr val="202950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099" y="2457450"/>
            <a:ext cx="8940801" cy="3186961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rgbClr val="20295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33975" y="5642870"/>
            <a:ext cx="6384924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rgbClr val="202950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133975" y="5939141"/>
            <a:ext cx="6384924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rgbClr val="202950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4104698" y="268426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4105814" y="357961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2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F14152DD-C265-443C-9A09-0285046CC74B}"/>
              </a:ext>
            </a:extLst>
          </p:cNvPr>
          <p:cNvSpPr/>
          <p:nvPr userDrawn="1"/>
        </p:nvSpPr>
        <p:spPr>
          <a:xfrm>
            <a:off x="-1" y="3110682"/>
            <a:ext cx="12192001" cy="3747318"/>
          </a:xfrm>
          <a:custGeom>
            <a:avLst/>
            <a:gdLst>
              <a:gd name="connsiteX0" fmla="*/ 6724173 w 12192001"/>
              <a:gd name="connsiteY0" fmla="*/ 562187 h 3747318"/>
              <a:gd name="connsiteX1" fmla="*/ 12192001 w 12192001"/>
              <a:gd name="connsiteY1" fmla="*/ 3155212 h 3747318"/>
              <a:gd name="connsiteX2" fmla="*/ 12192001 w 12192001"/>
              <a:gd name="connsiteY2" fmla="*/ 3456339 h 3747318"/>
              <a:gd name="connsiteX3" fmla="*/ 6597881 w 12192001"/>
              <a:gd name="connsiteY3" fmla="*/ 801274 h 3747318"/>
              <a:gd name="connsiteX4" fmla="*/ 4332078 w 12192001"/>
              <a:gd name="connsiteY4" fmla="*/ 2190624 h 3747318"/>
              <a:gd name="connsiteX5" fmla="*/ 2411471 w 12192001"/>
              <a:gd name="connsiteY5" fmla="*/ 1390064 h 3747318"/>
              <a:gd name="connsiteX6" fmla="*/ 4257409 w 12192001"/>
              <a:gd name="connsiteY6" fmla="*/ 2007009 h 3747318"/>
              <a:gd name="connsiteX7" fmla="*/ 6559934 w 12192001"/>
              <a:gd name="connsiteY7" fmla="*/ 578489 h 3747318"/>
              <a:gd name="connsiteX8" fmla="*/ 6724173 w 12192001"/>
              <a:gd name="connsiteY8" fmla="*/ 562187 h 3747318"/>
              <a:gd name="connsiteX9" fmla="*/ 0 w 12192001"/>
              <a:gd name="connsiteY9" fmla="*/ 0 h 3747318"/>
              <a:gd name="connsiteX10" fmla="*/ 4503451 w 12192001"/>
              <a:gd name="connsiteY10" fmla="*/ 2715046 h 3747318"/>
              <a:gd name="connsiteX11" fmla="*/ 6682344 w 12192001"/>
              <a:gd name="connsiteY11" fmla="*/ 1380781 h 3747318"/>
              <a:gd name="connsiteX12" fmla="*/ 12093953 w 12192001"/>
              <a:gd name="connsiteY12" fmla="*/ 3721840 h 3747318"/>
              <a:gd name="connsiteX13" fmla="*/ 12131795 w 12192001"/>
              <a:gd name="connsiteY13" fmla="*/ 3747318 h 3747318"/>
              <a:gd name="connsiteX14" fmla="*/ 0 w 12192001"/>
              <a:gd name="connsiteY14" fmla="*/ 3747318 h 3747318"/>
              <a:gd name="connsiteX15" fmla="*/ 0 w 12192001"/>
              <a:gd name="connsiteY15" fmla="*/ 209423 h 3747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2001" h="3747318">
                <a:moveTo>
                  <a:pt x="6724173" y="562187"/>
                </a:moveTo>
                <a:cubicBezTo>
                  <a:pt x="8485945" y="484284"/>
                  <a:pt x="12190815" y="3155212"/>
                  <a:pt x="12192001" y="3155212"/>
                </a:cubicBezTo>
                <a:lnTo>
                  <a:pt x="12192001" y="3456339"/>
                </a:lnTo>
                <a:cubicBezTo>
                  <a:pt x="12192001" y="3456339"/>
                  <a:pt x="8281013" y="531973"/>
                  <a:pt x="6597881" y="801274"/>
                </a:cubicBezTo>
                <a:cubicBezTo>
                  <a:pt x="5534141" y="971424"/>
                  <a:pt x="5421525" y="2229795"/>
                  <a:pt x="4332078" y="2190624"/>
                </a:cubicBezTo>
                <a:cubicBezTo>
                  <a:pt x="3764098" y="2169814"/>
                  <a:pt x="3078604" y="1834411"/>
                  <a:pt x="2411471" y="1390064"/>
                </a:cubicBezTo>
                <a:cubicBezTo>
                  <a:pt x="3049225" y="1731587"/>
                  <a:pt x="3705341" y="1987423"/>
                  <a:pt x="4257409" y="2007009"/>
                </a:cubicBezTo>
                <a:cubicBezTo>
                  <a:pt x="5345632" y="2046180"/>
                  <a:pt x="5496195" y="748638"/>
                  <a:pt x="6559934" y="578489"/>
                </a:cubicBezTo>
                <a:cubicBezTo>
                  <a:pt x="6612533" y="570073"/>
                  <a:pt x="6667342" y="564700"/>
                  <a:pt x="6724173" y="562187"/>
                </a:cubicBezTo>
                <a:close/>
                <a:moveTo>
                  <a:pt x="0" y="0"/>
                </a:moveTo>
                <a:cubicBezTo>
                  <a:pt x="0" y="0"/>
                  <a:pt x="2794612" y="2656289"/>
                  <a:pt x="4503451" y="2715046"/>
                </a:cubicBezTo>
                <a:cubicBezTo>
                  <a:pt x="5568415" y="2751769"/>
                  <a:pt x="5641860" y="1539913"/>
                  <a:pt x="6682344" y="1380781"/>
                </a:cubicBezTo>
                <a:cubicBezTo>
                  <a:pt x="8174402" y="1152257"/>
                  <a:pt x="11486120" y="3314425"/>
                  <a:pt x="12093953" y="3721840"/>
                </a:cubicBezTo>
                <a:lnTo>
                  <a:pt x="12131795" y="3747318"/>
                </a:lnTo>
                <a:lnTo>
                  <a:pt x="0" y="3747318"/>
                </a:lnTo>
                <a:lnTo>
                  <a:pt x="0" y="209423"/>
                </a:lnTo>
                <a:close/>
              </a:path>
            </a:pathLst>
          </a:custGeom>
          <a:solidFill>
            <a:srgbClr val="E0E0E0"/>
          </a:solidFill>
          <a:ln w="1224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id="{06C124CB-6EA2-464E-83C9-B5CE01BA77AD}"/>
              </a:ext>
            </a:extLst>
          </p:cNvPr>
          <p:cNvSpPr/>
          <p:nvPr userDrawn="1"/>
        </p:nvSpPr>
        <p:spPr>
          <a:xfrm>
            <a:off x="-1" y="3093190"/>
            <a:ext cx="12177572" cy="3778325"/>
          </a:xfrm>
          <a:custGeom>
            <a:avLst/>
            <a:gdLst>
              <a:gd name="connsiteX0" fmla="*/ 0 w 12177572"/>
              <a:gd name="connsiteY0" fmla="*/ 0 h 3778325"/>
              <a:gd name="connsiteX1" fmla="*/ 4503451 w 12177572"/>
              <a:gd name="connsiteY1" fmla="*/ 2715046 h 3778325"/>
              <a:gd name="connsiteX2" fmla="*/ 6682343 w 12177572"/>
              <a:gd name="connsiteY2" fmla="*/ 1380781 h 3778325"/>
              <a:gd name="connsiteX3" fmla="*/ 12147002 w 12177572"/>
              <a:gd name="connsiteY3" fmla="*/ 3757557 h 3778325"/>
              <a:gd name="connsiteX4" fmla="*/ 12177572 w 12177572"/>
              <a:gd name="connsiteY4" fmla="*/ 3778325 h 3778325"/>
              <a:gd name="connsiteX5" fmla="*/ 0 w 12177572"/>
              <a:gd name="connsiteY5" fmla="*/ 3778325 h 3778325"/>
              <a:gd name="connsiteX6" fmla="*/ 0 w 12177572"/>
              <a:gd name="connsiteY6" fmla="*/ 209423 h 3778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77572" h="3778325">
                <a:moveTo>
                  <a:pt x="0" y="0"/>
                </a:moveTo>
                <a:cubicBezTo>
                  <a:pt x="0" y="0"/>
                  <a:pt x="2794612" y="2656289"/>
                  <a:pt x="4503451" y="2715046"/>
                </a:cubicBezTo>
                <a:cubicBezTo>
                  <a:pt x="5568416" y="2751769"/>
                  <a:pt x="5641861" y="1539913"/>
                  <a:pt x="6682343" y="1380781"/>
                </a:cubicBezTo>
                <a:cubicBezTo>
                  <a:pt x="8225852" y="1144378"/>
                  <a:pt x="11716678" y="3466383"/>
                  <a:pt x="12147002" y="3757557"/>
                </a:cubicBezTo>
                <a:lnTo>
                  <a:pt x="12177572" y="3778325"/>
                </a:lnTo>
                <a:lnTo>
                  <a:pt x="0" y="3778325"/>
                </a:lnTo>
                <a:lnTo>
                  <a:pt x="0" y="209423"/>
                </a:lnTo>
                <a:close/>
              </a:path>
            </a:pathLst>
          </a:custGeom>
          <a:blipFill>
            <a:blip r:embed="rId2"/>
            <a:srcRect/>
            <a:stretch>
              <a:fillRect t="-70207" b="-44661"/>
            </a:stretch>
          </a:blipFill>
          <a:ln w="1224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2EB5DA3C-8073-4B7B-A92D-3ED6D0B28BEE}"/>
              </a:ext>
            </a:extLst>
          </p:cNvPr>
          <p:cNvSpPr/>
          <p:nvPr userDrawn="1"/>
        </p:nvSpPr>
        <p:spPr>
          <a:xfrm>
            <a:off x="2411470" y="3653704"/>
            <a:ext cx="9780530" cy="2888867"/>
          </a:xfrm>
          <a:custGeom>
            <a:avLst/>
            <a:gdLst>
              <a:gd name="connsiteX0" fmla="*/ 4148463 w 9780530"/>
              <a:gd name="connsiteY0" fmla="*/ 17974 h 2888867"/>
              <a:gd name="connsiteX1" fmla="*/ 1845937 w 9780530"/>
              <a:gd name="connsiteY1" fmla="*/ 1446494 h 2888867"/>
              <a:gd name="connsiteX2" fmla="*/ 0 w 9780530"/>
              <a:gd name="connsiteY2" fmla="*/ 829549 h 2888867"/>
              <a:gd name="connsiteX3" fmla="*/ 1920607 w 9780530"/>
              <a:gd name="connsiteY3" fmla="*/ 1630109 h 2888867"/>
              <a:gd name="connsiteX4" fmla="*/ 4186410 w 9780530"/>
              <a:gd name="connsiteY4" fmla="*/ 240759 h 2888867"/>
              <a:gd name="connsiteX5" fmla="*/ 9780530 w 9780530"/>
              <a:gd name="connsiteY5" fmla="*/ 2895824 h 2888867"/>
              <a:gd name="connsiteX6" fmla="*/ 9780530 w 9780530"/>
              <a:gd name="connsiteY6" fmla="*/ 2594697 h 2888867"/>
              <a:gd name="connsiteX7" fmla="*/ 4148463 w 9780530"/>
              <a:gd name="connsiteY7" fmla="*/ 17974 h 2888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780530" h="2888867">
                <a:moveTo>
                  <a:pt x="4148463" y="17974"/>
                </a:moveTo>
                <a:cubicBezTo>
                  <a:pt x="3084723" y="188123"/>
                  <a:pt x="2934159" y="1485665"/>
                  <a:pt x="1845937" y="1446494"/>
                </a:cubicBezTo>
                <a:cubicBezTo>
                  <a:pt x="1293870" y="1426908"/>
                  <a:pt x="637754" y="1171072"/>
                  <a:pt x="0" y="829549"/>
                </a:cubicBezTo>
                <a:cubicBezTo>
                  <a:pt x="667133" y="1273896"/>
                  <a:pt x="1352627" y="1609299"/>
                  <a:pt x="1920607" y="1630109"/>
                </a:cubicBezTo>
                <a:cubicBezTo>
                  <a:pt x="3010053" y="1669280"/>
                  <a:pt x="3122670" y="410909"/>
                  <a:pt x="4186410" y="240759"/>
                </a:cubicBezTo>
                <a:cubicBezTo>
                  <a:pt x="5869542" y="-28542"/>
                  <a:pt x="9780530" y="2895824"/>
                  <a:pt x="9780530" y="2895824"/>
                </a:cubicBezTo>
                <a:lnTo>
                  <a:pt x="9780530" y="2594697"/>
                </a:lnTo>
                <a:cubicBezTo>
                  <a:pt x="9779306" y="2594697"/>
                  <a:pt x="5831596" y="-251328"/>
                  <a:pt x="4148463" y="17974"/>
                </a:cubicBezTo>
                <a:close/>
              </a:path>
            </a:pathLst>
          </a:custGeom>
          <a:solidFill>
            <a:schemeClr val="accent1">
              <a:alpha val="80000"/>
            </a:schemeClr>
          </a:solidFill>
          <a:ln w="1224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2095500" y="1135063"/>
            <a:ext cx="9423398" cy="2293937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2095500" y="4092314"/>
            <a:ext cx="94233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accent2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95502" y="3796043"/>
            <a:ext cx="94233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2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  <a:t>2020/7/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347522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  <p:sldLayoutId id="2147483670" r:id="rId7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3.png"/><Relationship Id="rId4" Type="http://schemas.openxmlformats.org/officeDocument/2006/relationships/slideLayout" Target="../slideLayouts/slideLayout1.xml"/><Relationship Id="rId9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4.xml"/><Relationship Id="rId7" Type="http://schemas.openxmlformats.org/officeDocument/2006/relationships/image" Target="../media/image4.png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.png"/><Relationship Id="rId4" Type="http://schemas.microsoft.com/office/2007/relationships/hdphoto" Target="../media/hdphoto2.wdp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5.png"/><Relationship Id="rId5" Type="http://schemas.microsoft.com/office/2007/relationships/hdphoto" Target="../media/hdphoto2.wdp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Relationship Id="rId5" Type="http://schemas.microsoft.com/office/2007/relationships/hdphoto" Target="../media/hdphoto2.wdp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Relationship Id="rId4" Type="http://schemas.microsoft.com/office/2007/relationships/hdphoto" Target="../media/hdphoto2.wdp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8.png"/><Relationship Id="rId7" Type="http://schemas.openxmlformats.org/officeDocument/2006/relationships/image" Target="../media/image19.emf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8.emf"/><Relationship Id="rId5" Type="http://schemas.openxmlformats.org/officeDocument/2006/relationships/image" Target="../media/image100.png"/><Relationship Id="rId4" Type="http://schemas.openxmlformats.org/officeDocument/2006/relationships/image" Target="../media/image90.png"/><Relationship Id="rId9" Type="http://schemas.microsoft.com/office/2007/relationships/hdphoto" Target="../media/hdphoto2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4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530859" y="3952240"/>
            <a:ext cx="5829301" cy="2224702"/>
          </a:xfrm>
        </p:spPr>
        <p:txBody>
          <a:bodyPr>
            <a:normAutofit/>
          </a:bodyPr>
          <a:lstStyle/>
          <a:p>
            <a:r>
              <a:rPr lang="en-US" altLang="zh-CN" sz="2800" b="0" dirty="0">
                <a:solidFill>
                  <a:schemeClr val="accent2"/>
                </a:solidFill>
              </a:rPr>
              <a:t>2020</a:t>
            </a:r>
            <a:r>
              <a:rPr lang="zh-CN" altLang="en-US" sz="2800" b="0" dirty="0">
                <a:solidFill>
                  <a:schemeClr val="accent2"/>
                </a:solidFill>
              </a:rPr>
              <a:t>百威校园挑战赛</a:t>
            </a:r>
            <a:br>
              <a:rPr lang="en-US" altLang="zh-CN" sz="2800" b="0" baseline="30000" dirty="0">
                <a:solidFill>
                  <a:schemeClr val="accent2"/>
                </a:solidFill>
              </a:rPr>
            </a:br>
            <a:r>
              <a:rPr lang="zh-CN" altLang="en-US" sz="2800" b="0" dirty="0">
                <a:solidFill>
                  <a:schemeClr val="accent2"/>
                </a:solidFill>
              </a:rPr>
              <a:t>数据技术方向</a:t>
            </a:r>
            <a:br>
              <a:rPr lang="en-US" altLang="zh-CN" sz="6000" dirty="0">
                <a:solidFill>
                  <a:schemeClr val="accent2"/>
                </a:solidFill>
              </a:rPr>
            </a:br>
            <a:r>
              <a:rPr lang="en-US" altLang="zh-CN" sz="6600" b="0" dirty="0">
                <a:solidFill>
                  <a:schemeClr val="accent2"/>
                </a:solidFill>
                <a:latin typeface="Arial Black" panose="020B0A04020102020204" pitchFamily="34" charset="0"/>
              </a:rPr>
              <a:t>UNNC</a:t>
            </a:r>
            <a:r>
              <a:rPr lang="zh-CN" altLang="en-US" sz="6600" b="0" dirty="0">
                <a:solidFill>
                  <a:schemeClr val="accent2"/>
                </a:solidFill>
                <a:latin typeface="Arial Black" panose="020B0A04020102020204" pitchFamily="34" charset="0"/>
              </a:rPr>
              <a:t>小分队</a:t>
            </a:r>
            <a:br>
              <a:rPr lang="en-US" altLang="zh-CN" sz="4400" b="0" dirty="0">
                <a:solidFill>
                  <a:schemeClr val="accent2"/>
                </a:solidFill>
                <a:latin typeface="Arial Black" panose="020B0A04020102020204" pitchFamily="34" charset="0"/>
              </a:rPr>
            </a:br>
            <a:r>
              <a:rPr lang="zh-CN" altLang="en-US" sz="2400" b="0" dirty="0">
                <a:solidFill>
                  <a:schemeClr val="accent2"/>
                </a:solidFill>
                <a:latin typeface="Arial Black" panose="020B0A04020102020204" pitchFamily="34" charset="0"/>
              </a:rPr>
              <a:t>小组成员：赵宇，朱明远，白诗琪</a:t>
            </a:r>
            <a:endParaRPr lang="zh-CN" altLang="en-US" b="0" dirty="0">
              <a:solidFill>
                <a:schemeClr val="accent2"/>
              </a:solidFill>
              <a:latin typeface="Arial Black" panose="020B0A04020102020204" pitchFamily="34" charset="0"/>
            </a:endParaRP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20A7918A-A28A-44B2-AAD1-D4BE0F01C0D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9441" b="89161" l="4899" r="95245">
                        <a14:foregroundMark x1="12392" y1="13636" x2="12392" y2="13636"/>
                        <a14:foregroundMark x1="8069" y1="37063" x2="8069" y2="37063"/>
                        <a14:foregroundMark x1="39337" y1="31818" x2="39337" y2="31818"/>
                        <a14:foregroundMark x1="40346" y1="19231" x2="40346" y2="19231"/>
                        <a14:foregroundMark x1="45677" y1="31469" x2="45677" y2="31469"/>
                        <a14:foregroundMark x1="60086" y1="27972" x2="60086" y2="27972"/>
                        <a14:foregroundMark x1="65850" y1="29720" x2="65850" y2="29720"/>
                        <a14:foregroundMark x1="74928" y1="34266" x2="74928" y2="34266"/>
                        <a14:foregroundMark x1="89625" y1="37063" x2="89625" y2="37063"/>
                        <a14:foregroundMark x1="88617" y1="34266" x2="88617" y2="34266"/>
                        <a14:foregroundMark x1="91210" y1="47902" x2="91210" y2="47902"/>
                        <a14:foregroundMark x1="92363" y1="45105" x2="95389" y2="25524"/>
                        <a14:foregroundMark x1="6484" y1="68881" x2="9510" y2="68182"/>
                        <a14:foregroundMark x1="4899" y1="48252" x2="6772" y2="43007"/>
                        <a14:foregroundMark x1="60951" y1="28671" x2="65418" y2="28322"/>
                        <a14:foregroundMark x1="74352" y1="34965" x2="77089" y2="34965"/>
                        <a14:foregroundMark x1="32565" y1="68881" x2="32565" y2="72727"/>
                        <a14:foregroundMark x1="45533" y1="67832" x2="45389" y2="72378"/>
                        <a14:foregroundMark x1="48072" y1="69580" x2="47983" y2="72378"/>
                        <a14:foregroundMark x1="48127" y1="67832" x2="48072" y2="69580"/>
                        <a14:foregroundMark x1="52594" y1="84615" x2="54179" y2="84965"/>
                        <a14:foregroundMark x1="40346" y1="88462" x2="40346" y2="88462"/>
                        <a14:foregroundMark x1="34582" y1="60140" x2="34582" y2="60140"/>
                        <a14:backgroundMark x1="50144" y1="69580" x2="50144" y2="69580"/>
                        <a14:backgroundMark x1="49712" y1="75524" x2="49712" y2="75524"/>
                        <a14:backgroundMark x1="20317" y1="72727" x2="20317" y2="72727"/>
                        <a14:backgroundMark x1="38184" y1="82517" x2="38184" y2="82517"/>
                        <a14:backgroundMark x1="23775" y1="86014" x2="23775" y2="86014"/>
                        <a14:backgroundMark x1="40346" y1="66783" x2="40346" y2="66783"/>
                        <a14:backgroundMark x1="34438" y1="66783" x2="34438" y2="66783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35279" y="278916"/>
            <a:ext cx="2175601" cy="896573"/>
          </a:xfrm>
          <a:prstGeom prst="rect">
            <a:avLst/>
          </a:prstGeom>
        </p:spPr>
      </p:pic>
    </p:spTree>
    <p:custDataLst>
      <p:tags r:id="rId3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zh-CN" sz="4800" b="0" dirty="0">
                <a:latin typeface="Arial Black" panose="020B0A04020102020204" pitchFamily="34" charset="0"/>
              </a:rPr>
              <a:t>THANK YOU</a:t>
            </a:r>
            <a:br>
              <a:rPr lang="en-US" altLang="zh-CN" sz="4000" b="0" dirty="0">
                <a:latin typeface="Arial Black" panose="020B0A04020102020204" pitchFamily="34" charset="0"/>
              </a:rPr>
            </a:br>
            <a:r>
              <a:rPr lang="en-US" altLang="zh-CN" sz="2400" b="0" dirty="0">
                <a:latin typeface="Arial Black" panose="020B0A04020102020204" pitchFamily="34" charset="0"/>
              </a:rPr>
              <a:t>Challenge Accepted</a:t>
            </a:r>
            <a:endParaRPr lang="zh-CN" altLang="en-US" sz="4000" b="0" dirty="0">
              <a:latin typeface="Arial Black" panose="020B0A04020102020204" pitchFamily="34" charset="0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sz="2400" dirty="0"/>
              <a:t>UNNC </a:t>
            </a:r>
            <a:r>
              <a:rPr lang="zh-CN" altLang="en-US" sz="2400" dirty="0"/>
              <a:t>小分队</a:t>
            </a:r>
            <a:endParaRPr lang="en-US" altLang="zh-CN" sz="2400" dirty="0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C5D080BA-EFE3-4A99-B4C2-89A678E5C17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9441" b="89161" l="4899" r="95245">
                        <a14:foregroundMark x1="12392" y1="13636" x2="12392" y2="13636"/>
                        <a14:foregroundMark x1="8069" y1="37063" x2="8069" y2="37063"/>
                        <a14:foregroundMark x1="39337" y1="31818" x2="39337" y2="31818"/>
                        <a14:foregroundMark x1="40346" y1="19231" x2="40346" y2="19231"/>
                        <a14:foregroundMark x1="45677" y1="31469" x2="45677" y2="31469"/>
                        <a14:foregroundMark x1="60086" y1="27972" x2="60086" y2="27972"/>
                        <a14:foregroundMark x1="65850" y1="29720" x2="65850" y2="29720"/>
                        <a14:foregroundMark x1="74928" y1="34266" x2="74928" y2="34266"/>
                        <a14:foregroundMark x1="89625" y1="37063" x2="89625" y2="37063"/>
                        <a14:foregroundMark x1="88617" y1="34266" x2="88617" y2="34266"/>
                        <a14:foregroundMark x1="91210" y1="47902" x2="91210" y2="47902"/>
                        <a14:foregroundMark x1="92363" y1="45105" x2="95389" y2="25524"/>
                        <a14:foregroundMark x1="6484" y1="68881" x2="9510" y2="68182"/>
                        <a14:foregroundMark x1="4899" y1="48252" x2="6772" y2="43007"/>
                        <a14:foregroundMark x1="60951" y1="28671" x2="65418" y2="28322"/>
                        <a14:foregroundMark x1="74352" y1="34965" x2="77089" y2="34965"/>
                        <a14:foregroundMark x1="32565" y1="68881" x2="32565" y2="72727"/>
                        <a14:foregroundMark x1="45533" y1="67832" x2="45389" y2="72378"/>
                        <a14:foregroundMark x1="48072" y1="69580" x2="47983" y2="72378"/>
                        <a14:foregroundMark x1="48127" y1="67832" x2="48072" y2="69580"/>
                        <a14:foregroundMark x1="52594" y1="84615" x2="54179" y2="84965"/>
                        <a14:foregroundMark x1="40346" y1="88462" x2="40346" y2="88462"/>
                        <a14:foregroundMark x1="34582" y1="60140" x2="34582" y2="60140"/>
                        <a14:backgroundMark x1="50144" y1="69580" x2="50144" y2="69580"/>
                        <a14:backgroundMark x1="49712" y1="75524" x2="49712" y2="75524"/>
                        <a14:backgroundMark x1="20317" y1="72727" x2="20317" y2="72727"/>
                        <a14:backgroundMark x1="38184" y1="82517" x2="38184" y2="82517"/>
                        <a14:backgroundMark x1="23775" y1="86014" x2="23775" y2="86014"/>
                        <a14:backgroundMark x1="40346" y1="66783" x2="40346" y2="66783"/>
                        <a14:backgroundMark x1="34438" y1="66783" x2="34438" y2="66783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692639" y="503255"/>
            <a:ext cx="2175601" cy="896573"/>
          </a:xfrm>
          <a:prstGeom prst="rect">
            <a:avLst/>
          </a:prstGeom>
        </p:spPr>
      </p:pic>
    </p:spTree>
    <p:custDataLst>
      <p:tags r:id="rId3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>
            <a:extLst>
              <a:ext uri="{FF2B5EF4-FFF2-40B4-BE49-F238E27FC236}">
                <a16:creationId xmlns:a16="http://schemas.microsoft.com/office/drawing/2014/main" id="{E2E19E65-49B8-4EE3-86A9-B0900AEA9D7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1">
                  <a:lumMod val="50000"/>
                </a:schemeClr>
              </a:gs>
              <a:gs pos="71000">
                <a:schemeClr val="accent1">
                  <a:lumMod val="75000"/>
                  <a:alpha val="50000"/>
                </a:schemeClr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dirty="0">
                    <a:solidFill>
                      <a:schemeClr val="bg1"/>
                    </a:solidFill>
                    <a:latin typeface="+mn-lt"/>
                    <a:ea typeface="+mn-ea"/>
                    <a:sym typeface="+mn-lt"/>
                  </a:rPr>
                  <a:t>数据合并 </a:t>
                </a:r>
                <a:endParaRPr lang="en-US" altLang="zh-CN" sz="2800" dirty="0">
                  <a:solidFill>
                    <a:schemeClr val="bg1"/>
                  </a:solidFill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dirty="0">
                    <a:solidFill>
                      <a:schemeClr val="bg1"/>
                    </a:solidFill>
                    <a:latin typeface="+mn-lt"/>
                    <a:ea typeface="+mn-ea"/>
                    <a:sym typeface="+mn-lt"/>
                  </a:rPr>
                  <a:t>数据清洗</a:t>
                </a:r>
                <a:endParaRPr lang="en-US" altLang="zh-CN" sz="2800" dirty="0">
                  <a:solidFill>
                    <a:schemeClr val="bg1"/>
                  </a:solidFill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dirty="0">
                    <a:solidFill>
                      <a:schemeClr val="bg1"/>
                    </a:solidFill>
                    <a:latin typeface="+mn-lt"/>
                    <a:ea typeface="+mn-ea"/>
                    <a:sym typeface="+mn-lt"/>
                  </a:rPr>
                  <a:t>探索性分析</a:t>
                </a:r>
                <a:endParaRPr lang="en-US" altLang="zh-CN" sz="2800" dirty="0">
                  <a:solidFill>
                    <a:schemeClr val="bg1"/>
                  </a:solidFill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dirty="0">
                    <a:solidFill>
                      <a:schemeClr val="bg1"/>
                    </a:solidFill>
                    <a:latin typeface="+mn-lt"/>
                    <a:ea typeface="+mn-ea"/>
                    <a:sym typeface="+mn-lt"/>
                  </a:rPr>
                  <a:t>特征工程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dirty="0">
                    <a:solidFill>
                      <a:schemeClr val="bg1"/>
                    </a:solidFill>
                    <a:sym typeface="+mn-lt"/>
                  </a:rPr>
                  <a:t>建模构想</a:t>
                </a:r>
                <a:endParaRPr lang="en-US" altLang="zh-CN" sz="2800" dirty="0">
                  <a:solidFill>
                    <a:schemeClr val="bg1"/>
                  </a:solidFill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>
                    <a:solidFill>
                      <a:schemeClr val="accent1"/>
                    </a:solidFill>
                    <a:cs typeface="+mn-ea"/>
                    <a:sym typeface="+mn-lt"/>
                  </a:rPr>
                  <a:t>CONTEN</a:t>
                </a:r>
                <a:r>
                  <a:rPr lang="tr-TR" sz="100" b="1">
                    <a:solidFill>
                      <a:schemeClr val="accent1"/>
                    </a:solidFill>
                    <a:cs typeface="+mn-ea"/>
                    <a:sym typeface="+mn-lt"/>
                  </a:rPr>
                  <a:t> </a:t>
                </a:r>
                <a:r>
                  <a:rPr lang="tr-TR" sz="2800" b="1">
                    <a:solidFill>
                      <a:schemeClr val="accent1"/>
                    </a:solidFill>
                    <a:cs typeface="+mn-ea"/>
                    <a:sym typeface="+mn-lt"/>
                  </a:rPr>
                  <a:t>TS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图片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5" y="15875"/>
            <a:ext cx="12181840" cy="6844665"/>
          </a:xfrm>
          <a:prstGeom prst="rect">
            <a:avLst/>
          </a:prstGeom>
        </p:spPr>
      </p:pic>
      <p:sp>
        <p:nvSpPr>
          <p:cNvPr id="19" name="标题 1"/>
          <p:cNvSpPr txBox="1"/>
          <p:nvPr/>
        </p:nvSpPr>
        <p:spPr>
          <a:xfrm>
            <a:off x="1073991" y="287528"/>
            <a:ext cx="6109097" cy="604044"/>
          </a:xfrm>
          <a:prstGeom prst="rect">
            <a:avLst/>
          </a:prstGeom>
        </p:spPr>
        <p:txBody>
          <a:bodyPr/>
          <a:lstStyle>
            <a:lvl1pPr algn="l" defTabSz="28879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38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>
              <a:lnSpc>
                <a:spcPct val="150000"/>
              </a:lnSpc>
            </a:pPr>
            <a:r>
              <a:rPr lang="zh-CN" altLang="en-US" sz="3200" b="1" dirty="0">
                <a:solidFill>
                  <a:srgbClr val="AF0203"/>
                </a:solidFill>
                <a:latin typeface="+mj-ea"/>
                <a:cs typeface="+mn-ea"/>
              </a:rPr>
              <a:t>团队介绍与分工</a:t>
            </a:r>
          </a:p>
        </p:txBody>
      </p:sp>
      <p:sp>
        <p:nvSpPr>
          <p:cNvPr id="22" name="直接连接符 4"/>
          <p:cNvSpPr>
            <a:spLocks noChangeShapeType="1"/>
          </p:cNvSpPr>
          <p:nvPr/>
        </p:nvSpPr>
        <p:spPr bwMode="auto">
          <a:xfrm>
            <a:off x="476" y="1054255"/>
            <a:ext cx="12191207" cy="0"/>
          </a:xfrm>
          <a:prstGeom prst="line">
            <a:avLst/>
          </a:prstGeom>
          <a:noFill/>
          <a:ln w="6350">
            <a:solidFill>
              <a:srgbClr val="3AC4C4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 sz="27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28" name="Picture 4" descr="全球啤酒龙头：百威英博Anheuser-Busch InBev(BUD) | 美股之家- 港美股 ...">
            <a:extLst>
              <a:ext uri="{FF2B5EF4-FFF2-40B4-BE49-F238E27FC236}">
                <a16:creationId xmlns:a16="http://schemas.microsoft.com/office/drawing/2014/main" id="{88CA2ECB-94A4-46E4-8FB0-770139000E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3354" y="5669112"/>
            <a:ext cx="1917058" cy="83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全球啤酒龙头：百威英博Anheuser-Busch InBev(BUD) | 美股之家- 港美股 ...">
            <a:extLst>
              <a:ext uri="{FF2B5EF4-FFF2-40B4-BE49-F238E27FC236}">
                <a16:creationId xmlns:a16="http://schemas.microsoft.com/office/drawing/2014/main" id="{C3AA9823-F2D8-48EF-A0AC-93D4DC25AF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5516" y="5625308"/>
            <a:ext cx="1917058" cy="83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图片 3" descr="穿着西装的男孩&#10;&#10;描述已自动生成">
            <a:extLst>
              <a:ext uri="{FF2B5EF4-FFF2-40B4-BE49-F238E27FC236}">
                <a16:creationId xmlns:a16="http://schemas.microsoft.com/office/drawing/2014/main" id="{75221AF8-1CF6-DC48-889A-F4B90FB5434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01" b="15230"/>
          <a:stretch/>
        </p:blipFill>
        <p:spPr>
          <a:xfrm>
            <a:off x="1615558" y="3120453"/>
            <a:ext cx="1117843" cy="1334273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FB541886-90F2-DB4E-AEE2-48EE07A7741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7093" y="4684209"/>
            <a:ext cx="994775" cy="1279712"/>
          </a:xfrm>
          <a:prstGeom prst="rect">
            <a:avLst/>
          </a:prstGeom>
        </p:spPr>
      </p:pic>
      <p:graphicFrame>
        <p:nvGraphicFramePr>
          <p:cNvPr id="13" name="表格 12">
            <a:extLst>
              <a:ext uri="{FF2B5EF4-FFF2-40B4-BE49-F238E27FC236}">
                <a16:creationId xmlns:a16="http://schemas.microsoft.com/office/drawing/2014/main" id="{4454075C-E4FD-2149-B174-A4C0850DE8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850743"/>
              </p:ext>
            </p:extLst>
          </p:nvPr>
        </p:nvGraphicFramePr>
        <p:xfrm>
          <a:off x="2939070" y="2913011"/>
          <a:ext cx="7370434" cy="1548163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436562">
                  <a:extLst>
                    <a:ext uri="{9D8B030D-6E8A-4147-A177-3AD203B41FA5}">
                      <a16:colId xmlns:a16="http://schemas.microsoft.com/office/drawing/2014/main" val="416212174"/>
                    </a:ext>
                  </a:extLst>
                </a:gridCol>
                <a:gridCol w="5933872">
                  <a:extLst>
                    <a:ext uri="{9D8B030D-6E8A-4147-A177-3AD203B41FA5}">
                      <a16:colId xmlns:a16="http://schemas.microsoft.com/office/drawing/2014/main" val="1146010656"/>
                    </a:ext>
                  </a:extLst>
                </a:gridCol>
              </a:tblGrid>
              <a:tr h="46690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朱明远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University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of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Nottingham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-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Sc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International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anagement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(Business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Analytics)</a:t>
                      </a:r>
                    </a:p>
                    <a:p>
                      <a:pPr algn="l" fontAlgn="ctr"/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Jilin University- BSc Biology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6584900"/>
                  </a:ext>
                </a:extLst>
              </a:tr>
              <a:tr h="46690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Experience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大学生数据建模大赛三等奖，中科院昆明动物所，中科院广州生物医药研究所，中科院上海生物化学研究所，宁波诺丁汉 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Part-time RA, </a:t>
                      </a:r>
                    </a:p>
                    <a:p>
                      <a:pPr algn="l" fontAlgn="ctr"/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UNNC  Data Assistant and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Employment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Procedure</a:t>
                      </a:r>
                      <a:r>
                        <a:rPr lang="zh-CN" altLang="fr-FR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，</a:t>
                      </a:r>
                    </a:p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薪郅互联网科技（上海）有限公司   实习薪酬数据分析员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0130720"/>
                  </a:ext>
                </a:extLst>
              </a:tr>
              <a:tr h="46690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Division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of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Work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模型框架搭建；外部数据的更新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4972653"/>
                  </a:ext>
                </a:extLst>
              </a:tr>
            </a:tbl>
          </a:graphicData>
        </a:graphic>
      </p:graphicFrame>
      <p:graphicFrame>
        <p:nvGraphicFramePr>
          <p:cNvPr id="14" name="表格 13">
            <a:extLst>
              <a:ext uri="{FF2B5EF4-FFF2-40B4-BE49-F238E27FC236}">
                <a16:creationId xmlns:a16="http://schemas.microsoft.com/office/drawing/2014/main" id="{2481A57E-52E1-D342-984F-B5D7932E23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5783987"/>
              </p:ext>
            </p:extLst>
          </p:nvPr>
        </p:nvGraphicFramePr>
        <p:xfrm>
          <a:off x="2939070" y="1330372"/>
          <a:ext cx="7370434" cy="1431999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436562">
                  <a:extLst>
                    <a:ext uri="{9D8B030D-6E8A-4147-A177-3AD203B41FA5}">
                      <a16:colId xmlns:a16="http://schemas.microsoft.com/office/drawing/2014/main" val="416212174"/>
                    </a:ext>
                  </a:extLst>
                </a:gridCol>
                <a:gridCol w="5933872">
                  <a:extLst>
                    <a:ext uri="{9D8B030D-6E8A-4147-A177-3AD203B41FA5}">
                      <a16:colId xmlns:a16="http://schemas.microsoft.com/office/drawing/2014/main" val="1146010656"/>
                    </a:ext>
                  </a:extLst>
                </a:gridCol>
              </a:tblGrid>
              <a:tr h="46690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赵宇（队长）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University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of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Nottingham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-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Sc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International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anagement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(Business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Analytics)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6584900"/>
                  </a:ext>
                </a:extLst>
              </a:tr>
              <a:tr h="46690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Experience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Hape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Holding AG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.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数据分析师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实习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-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完善公司用户画像与产品画像，优化消费者洞察与产品分析，辅助精准营销。</a:t>
                      </a:r>
                      <a:endParaRPr lang="en-US" altLang="zh-CN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京东 数据分析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实习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-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梳理京东商城网站内茶饮料品类中，不同阶段用户的认知差距，定义站内茶品用户成长路径，探寻用户精细化分层运营及站内引流营销机会点。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0130720"/>
                  </a:ext>
                </a:extLst>
              </a:tr>
              <a:tr h="35073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Division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of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Work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数据探索，根据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odel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反馈进一步数据清理；业务层面。想到可能有用的稍微有一点业务含义的特征就添加，哪怕不太确定，或者觉得和已有特征关联较大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!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4972653"/>
                  </a:ext>
                </a:extLst>
              </a:tr>
            </a:tbl>
          </a:graphicData>
        </a:graphic>
      </p:graphicFrame>
      <p:graphicFrame>
        <p:nvGraphicFramePr>
          <p:cNvPr id="15" name="表格 14">
            <a:extLst>
              <a:ext uri="{FF2B5EF4-FFF2-40B4-BE49-F238E27FC236}">
                <a16:creationId xmlns:a16="http://schemas.microsoft.com/office/drawing/2014/main" id="{4C840BD6-C321-7647-8E5D-DED7553DA1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494551"/>
              </p:ext>
            </p:extLst>
          </p:nvPr>
        </p:nvGraphicFramePr>
        <p:xfrm>
          <a:off x="2939070" y="4554869"/>
          <a:ext cx="7370434" cy="1852963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436562">
                  <a:extLst>
                    <a:ext uri="{9D8B030D-6E8A-4147-A177-3AD203B41FA5}">
                      <a16:colId xmlns:a16="http://schemas.microsoft.com/office/drawing/2014/main" val="416212174"/>
                    </a:ext>
                  </a:extLst>
                </a:gridCol>
                <a:gridCol w="5933872">
                  <a:extLst>
                    <a:ext uri="{9D8B030D-6E8A-4147-A177-3AD203B41FA5}">
                      <a16:colId xmlns:a16="http://schemas.microsoft.com/office/drawing/2014/main" val="1146010656"/>
                    </a:ext>
                  </a:extLst>
                </a:gridCol>
              </a:tblGrid>
              <a:tr h="46690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白诗琪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University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of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Nottingham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–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Sc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International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anagement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(Business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Analytics)</a:t>
                      </a:r>
                    </a:p>
                    <a:p>
                      <a:pPr algn="l" fontAlgn="ctr"/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University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of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Nottingham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–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BSc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Computer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Science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6584900"/>
                  </a:ext>
                </a:extLst>
              </a:tr>
              <a:tr h="46690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Experience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Automatic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ovie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trailer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generation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based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on computer vision / 2018.09 – 2019. 05</a:t>
                      </a:r>
                    </a:p>
                    <a:p>
                      <a:pPr algn="l" fontAlgn="ctr"/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Program Introduction: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Using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computer vision,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extract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multimodal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features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of the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ovie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to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create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an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automatic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movie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trailer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generating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system </a:t>
                      </a:r>
                    </a:p>
                    <a:p>
                      <a:pPr algn="l" fontAlgn="ctr"/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Shanghai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Ping’an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HaoYiSheng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(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好医生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) 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smart Q&amp;A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platform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/ 2019.07 – 2019.12</a:t>
                      </a:r>
                    </a:p>
                    <a:p>
                      <a:pPr algn="l" fontAlgn="ctr"/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Program Introduction: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Using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natural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language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processing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model to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implement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automatic</a:t>
                      </a:r>
                      <a:r>
                        <a:rPr lang="fr-FR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fr-FR" altLang="zh-CN" sz="1000" b="0" i="0" u="none" strike="noStrike" dirty="0" err="1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diagnosis</a:t>
                      </a:r>
                      <a:endParaRPr lang="fr-FR" altLang="zh-CN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0130720"/>
                  </a:ext>
                </a:extLst>
              </a:tr>
              <a:tr h="46690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Division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of</a:t>
                      </a:r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Work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主要模型的调试以及参数更新，销售商用户画像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4972653"/>
                  </a:ext>
                </a:extLst>
              </a:tr>
            </a:tbl>
          </a:graphicData>
        </a:graphic>
      </p:graphicFrame>
      <p:pic>
        <p:nvPicPr>
          <p:cNvPr id="8" name="图片 7">
            <a:extLst>
              <a:ext uri="{FF2B5EF4-FFF2-40B4-BE49-F238E27FC236}">
                <a16:creationId xmlns:a16="http://schemas.microsoft.com/office/drawing/2014/main" id="{4ACF6903-0F1B-4442-B680-CEC67AEC952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7093" y="1291992"/>
            <a:ext cx="1039914" cy="1508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7076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70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>
            <a:extLst>
              <a:ext uri="{FF2B5EF4-FFF2-40B4-BE49-F238E27FC236}">
                <a16:creationId xmlns:a16="http://schemas.microsoft.com/office/drawing/2014/main" id="{50D68DBC-6C4E-4EF5-B32A-6A34AA44C1DC}"/>
              </a:ext>
            </a:extLst>
          </p:cNvPr>
          <p:cNvSpPr/>
          <p:nvPr/>
        </p:nvSpPr>
        <p:spPr>
          <a:xfrm>
            <a:off x="0" y="334481"/>
            <a:ext cx="12192000" cy="6523519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graphicFrame>
        <p:nvGraphicFramePr>
          <p:cNvPr id="2" name="表格 1">
            <a:extLst>
              <a:ext uri="{FF2B5EF4-FFF2-40B4-BE49-F238E27FC236}">
                <a16:creationId xmlns:a16="http://schemas.microsoft.com/office/drawing/2014/main" id="{39583C91-D86A-4792-A26F-C778A8A54C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823256"/>
              </p:ext>
            </p:extLst>
          </p:nvPr>
        </p:nvGraphicFramePr>
        <p:xfrm>
          <a:off x="548474" y="1423375"/>
          <a:ext cx="4480725" cy="2263409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493575">
                  <a:extLst>
                    <a:ext uri="{9D8B030D-6E8A-4147-A177-3AD203B41FA5}">
                      <a16:colId xmlns:a16="http://schemas.microsoft.com/office/drawing/2014/main" val="416212174"/>
                    </a:ext>
                  </a:extLst>
                </a:gridCol>
                <a:gridCol w="1493575">
                  <a:extLst>
                    <a:ext uri="{9D8B030D-6E8A-4147-A177-3AD203B41FA5}">
                      <a16:colId xmlns:a16="http://schemas.microsoft.com/office/drawing/2014/main" val="1146010656"/>
                    </a:ext>
                  </a:extLst>
                </a:gridCol>
                <a:gridCol w="1493575">
                  <a:extLst>
                    <a:ext uri="{9D8B030D-6E8A-4147-A177-3AD203B41FA5}">
                      <a16:colId xmlns:a16="http://schemas.microsoft.com/office/drawing/2014/main" val="1760004057"/>
                    </a:ext>
                  </a:extLst>
                </a:gridCol>
              </a:tblGrid>
              <a:tr h="491504">
                <a:tc>
                  <a:txBody>
                    <a:bodyPr/>
                    <a:lstStyle/>
                    <a:p>
                      <a:pPr marL="0" marR="0" lvl="0" indent="0" algn="ctr" defTabSz="91435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3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商务计划表</a:t>
                      </a:r>
                      <a:endParaRPr lang="en-US" altLang="zh-CN" sz="1300" b="1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3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历史销量数据表</a:t>
                      </a:r>
                      <a:endParaRPr lang="en-US" altLang="zh-CN" sz="1300" b="1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3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产品主数据表</a:t>
                      </a:r>
                      <a:endParaRPr lang="en-US" altLang="zh-CN" sz="1300" b="1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5937626"/>
                  </a:ext>
                </a:extLst>
              </a:tr>
              <a:tr h="25382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年月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销售日期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产品编号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6584900"/>
                  </a:ext>
                </a:extLst>
              </a:tr>
              <a:tr h="25382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销售区域名称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销售区域名称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品牌名称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0130720"/>
                  </a:ext>
                </a:extLst>
              </a:tr>
              <a:tr h="25382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产品代码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产品代码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包装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4972653"/>
                  </a:ext>
                </a:extLst>
              </a:tr>
              <a:tr h="25382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每箱单价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人民币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销量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百升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档次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0355639"/>
                  </a:ext>
                </a:extLst>
              </a:tr>
              <a:tr h="50278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预估返利金额投入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人民币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年月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6340708"/>
                  </a:ext>
                </a:extLst>
              </a:tr>
              <a:tr h="25382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预估促销量</a:t>
                      </a:r>
                      <a:r>
                        <a:rPr lang="en-US" altLang="zh-CN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lang="zh-CN" altLang="en-US" sz="1000" b="0" u="none" strike="noStrike" dirty="0">
                          <a:solidFill>
                            <a:srgbClr val="46130F"/>
                          </a:solidFill>
                          <a:effectLst/>
                          <a:latin typeface="+mn-ea"/>
                          <a:ea typeface="+mn-ea"/>
                        </a:rPr>
                        <a:t>百升</a:t>
                      </a:r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000" b="0" i="0" u="none" strike="noStrike" dirty="0">
                        <a:solidFill>
                          <a:srgbClr val="46130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232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7967712"/>
                  </a:ext>
                </a:extLst>
              </a:tr>
            </a:tbl>
          </a:graphicData>
        </a:graphic>
      </p:graphicFrame>
      <p:pic>
        <p:nvPicPr>
          <p:cNvPr id="6" name="Picture 4" descr="全球啤酒龙头：百威英博Anheuser-Busch InBev(BUD) | 美股之家- 港美股 ...">
            <a:extLst>
              <a:ext uri="{FF2B5EF4-FFF2-40B4-BE49-F238E27FC236}">
                <a16:creationId xmlns:a16="http://schemas.microsoft.com/office/drawing/2014/main" id="{68B84FCC-F537-418B-B191-9D390AF5E4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465" b="92574" l="3688" r="97614">
                        <a14:foregroundMark x1="7592" y1="71287" x2="7592" y2="71287"/>
                        <a14:foregroundMark x1="8243" y1="68812" x2="6074" y2="76733"/>
                        <a14:foregroundMark x1="8026" y1="69802" x2="7592" y2="73762"/>
                        <a14:foregroundMark x1="13449" y1="94554" x2="10195" y2="74752"/>
                        <a14:foregroundMark x1="3688" y1="93564" x2="5206" y2="80198"/>
                        <a14:foregroundMark x1="29067" y1="78218" x2="29067" y2="78218"/>
                        <a14:foregroundMark x1="33189" y1="81683" x2="33189" y2="81683"/>
                        <a14:foregroundMark x1="44252" y1="79208" x2="44252" y2="79208"/>
                        <a14:foregroundMark x1="55098" y1="85644" x2="55098" y2="85644"/>
                        <a14:foregroundMark x1="65293" y1="82178" x2="65293" y2="82178"/>
                        <a14:foregroundMark x1="76789" y1="45050" x2="74837" y2="49505"/>
                        <a14:foregroundMark x1="77223" y1="44059" x2="76789" y2="45050"/>
                        <a14:foregroundMark x1="77440" y1="43564" x2="77223" y2="44059"/>
                        <a14:foregroundMark x1="77657" y1="43069" x2="77440" y2="43564"/>
                        <a14:foregroundMark x1="77874" y1="42574" x2="77657" y2="43069"/>
                        <a14:foregroundMark x1="78091" y1="42079" x2="77874" y2="42574"/>
                        <a14:foregroundMark x1="80477" y1="36634" x2="78091" y2="42079"/>
                        <a14:foregroundMark x1="79393" y1="50495" x2="87202" y2="57426"/>
                        <a14:foregroundMark x1="92842" y1="50495" x2="95445" y2="46040"/>
                        <a14:foregroundMark x1="60738" y1="35644" x2="47505" y2="20792"/>
                        <a14:foregroundMark x1="55965" y1="31683" x2="50108" y2="22772"/>
                        <a14:foregroundMark x1="68113" y1="38119" x2="63124" y2="29703"/>
                        <a14:foregroundMark x1="54891" y1="14851" x2="49892" y2="3960"/>
                        <a14:foregroundMark x1="55573" y1="16337" x2="54891" y2="14851"/>
                        <a14:foregroundMark x1="56255" y1="17822" x2="55573" y2="16337"/>
                        <a14:foregroundMark x1="59436" y1="24752" x2="56255" y2="17822"/>
                        <a14:foregroundMark x1="75705" y1="50495" x2="73536" y2="45050"/>
                        <a14:foregroundMark x1="77440" y1="38614" x2="79610" y2="39604"/>
                        <a14:foregroundMark x1="77440" y1="35149" x2="78308" y2="37129"/>
                        <a14:foregroundMark x1="78959" y1="35644" x2="78959" y2="35644"/>
                        <a14:foregroundMark x1="79176" y1="36139" x2="79176" y2="36139"/>
                        <a14:foregroundMark x1="77223" y1="47525" x2="97614" y2="44059"/>
                        <a14:foregroundMark x1="80694" y1="43069" x2="80694" y2="43069"/>
                        <a14:foregroundMark x1="80694" y1="43564" x2="80694" y2="43564"/>
                        <a14:foregroundMark x1="80694" y1="43564" x2="81562" y2="43069"/>
                        <a14:backgroundMark x1="52711" y1="14851" x2="52711" y2="14851"/>
                        <a14:backgroundMark x1="53579" y1="16337" x2="53579" y2="16337"/>
                        <a14:backgroundMark x1="54230" y1="17822" x2="54230" y2="17822"/>
                        <a14:backgroundMark x1="97180" y1="46040" x2="97180" y2="46040"/>
                        <a14:backgroundMark x1="96529" y1="45545" x2="96529" y2="45545"/>
                        <a14:backgroundMark x1="81128" y1="45050" x2="81128" y2="45050"/>
                        <a14:backgroundMark x1="80260" y1="42079" x2="80260" y2="42079"/>
                        <a14:backgroundMark x1="81128" y1="42574" x2="81128" y2="42574"/>
                        <a14:backgroundMark x1="81345" y1="44059" x2="81345" y2="44059"/>
                        <a14:backgroundMark x1="79610" y1="44059" x2="79610" y2="44059"/>
                        <a14:backgroundMark x1="80477" y1="44059" x2="80477" y2="44059"/>
                        <a14:backgroundMark x1="81562" y1="43069" x2="81562" y2="43069"/>
                        <a14:backgroundMark x1="80694" y1="43564" x2="80694" y2="43564"/>
                        <a14:backgroundMark x1="81128" y1="43069" x2="81128" y2="43069"/>
                        <a14:backgroundMark x1="80694" y1="43069" x2="80694" y2="43069"/>
                        <a14:backgroundMark x1="81128" y1="44059" x2="81128" y2="4405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6468" y="472220"/>
            <a:ext cx="1917058" cy="83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箭头: 圆角右 8">
            <a:extLst>
              <a:ext uri="{FF2B5EF4-FFF2-40B4-BE49-F238E27FC236}">
                <a16:creationId xmlns:a16="http://schemas.microsoft.com/office/drawing/2014/main" id="{B5743771-A5A5-48DE-AE9E-F957B9E36E16}"/>
              </a:ext>
            </a:extLst>
          </p:cNvPr>
          <p:cNvSpPr/>
          <p:nvPr/>
        </p:nvSpPr>
        <p:spPr>
          <a:xfrm rot="5400000">
            <a:off x="5139173" y="1972937"/>
            <a:ext cx="1778122" cy="1687351"/>
          </a:xfrm>
          <a:prstGeom prst="bentArrow">
            <a:avLst>
              <a:gd name="adj1" fmla="val 10324"/>
              <a:gd name="adj2" fmla="val 13714"/>
              <a:gd name="adj3" fmla="val 19975"/>
              <a:gd name="adj4" fmla="val 43750"/>
            </a:avLst>
          </a:prstGeom>
          <a:solidFill>
            <a:srgbClr val="3B2515">
              <a:alpha val="7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85DDD951-06D4-4234-BE64-CBFEB1031EAF}"/>
              </a:ext>
            </a:extLst>
          </p:cNvPr>
          <p:cNvSpPr txBox="1"/>
          <p:nvPr/>
        </p:nvSpPr>
        <p:spPr>
          <a:xfrm>
            <a:off x="482600" y="506501"/>
            <a:ext cx="3581400" cy="743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数据合并：</a:t>
            </a:r>
            <a:endParaRPr lang="en-US" altLang="zh-CN" sz="32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869CDFD3-26AA-4D23-81F3-4CD7497FB716}"/>
              </a:ext>
            </a:extLst>
          </p:cNvPr>
          <p:cNvSpPr txBox="1"/>
          <p:nvPr/>
        </p:nvSpPr>
        <p:spPr>
          <a:xfrm>
            <a:off x="9093366" y="2966247"/>
            <a:ext cx="255016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altLang="en-US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拟用外部数据：</a:t>
            </a:r>
            <a:endParaRPr lang="en-US" altLang="zh-CN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  <a:p>
            <a:r>
              <a:rPr lang="zh-CN" altLang="en-US" dirty="0">
                <a:solidFill>
                  <a:srgbClr val="46130F"/>
                </a:solidFill>
                <a:latin typeface="+mn-ea"/>
              </a:rPr>
              <a:t>季节，月平均温度，节假日，地区年龄结构，以及股市波动（消费指数）</a:t>
            </a:r>
            <a:endParaRPr lang="en-US" altLang="zh-CN" dirty="0">
              <a:solidFill>
                <a:srgbClr val="46130F"/>
              </a:solidFill>
              <a:latin typeface="+mn-ea"/>
            </a:endParaRPr>
          </a:p>
          <a:p>
            <a:endParaRPr lang="zh-CN" altLang="en-US" dirty="0"/>
          </a:p>
        </p:txBody>
      </p: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CE7E86D2-A1E4-4E16-ADD4-84C43BAE7E79}"/>
              </a:ext>
            </a:extLst>
          </p:cNvPr>
          <p:cNvCxnSpPr/>
          <p:nvPr/>
        </p:nvCxnSpPr>
        <p:spPr>
          <a:xfrm>
            <a:off x="482600" y="1250487"/>
            <a:ext cx="45466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图片 6">
            <a:extLst>
              <a:ext uri="{FF2B5EF4-FFF2-40B4-BE49-F238E27FC236}">
                <a16:creationId xmlns:a16="http://schemas.microsoft.com/office/drawing/2014/main" id="{EED56CC1-69EC-418A-8C87-894F7D1D5E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8474" y="3856250"/>
            <a:ext cx="7468356" cy="2777537"/>
          </a:xfrm>
          <a:prstGeom prst="rect">
            <a:avLst/>
          </a:prstGeom>
          <a:ln>
            <a:solidFill>
              <a:schemeClr val="bg2">
                <a:lumMod val="50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0427640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1C5995CE-0ACF-49A6-87AD-8D5F9CFA56C9}"/>
              </a:ext>
            </a:extLst>
          </p:cNvPr>
          <p:cNvSpPr>
            <a:spLocks noChangeAspect="1"/>
          </p:cNvSpPr>
          <p:nvPr/>
        </p:nvSpPr>
        <p:spPr>
          <a:xfrm>
            <a:off x="1879600" y="-14249"/>
            <a:ext cx="10312400" cy="6872249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2D9744FB-C6C5-4459-B27A-84D4953AD671}"/>
              </a:ext>
            </a:extLst>
          </p:cNvPr>
          <p:cNvSpPr/>
          <p:nvPr/>
        </p:nvSpPr>
        <p:spPr>
          <a:xfrm>
            <a:off x="0" y="-14250"/>
            <a:ext cx="12192000" cy="6872250"/>
          </a:xfrm>
          <a:prstGeom prst="rect">
            <a:avLst/>
          </a:prstGeom>
          <a:gradFill>
            <a:gsLst>
              <a:gs pos="44000">
                <a:schemeClr val="bg1"/>
              </a:gs>
              <a:gs pos="100000">
                <a:srgbClr val="D98201">
                  <a:alpha val="0"/>
                </a:srgbClr>
              </a:gs>
            </a:gsLst>
            <a:lin ang="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5DD568AE-ED49-4A0C-8A82-E6F4440775CE}"/>
              </a:ext>
            </a:extLst>
          </p:cNvPr>
          <p:cNvSpPr txBox="1"/>
          <p:nvPr/>
        </p:nvSpPr>
        <p:spPr>
          <a:xfrm>
            <a:off x="482600" y="1904998"/>
            <a:ext cx="4292600" cy="37828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补充“</a:t>
            </a:r>
            <a:r>
              <a:rPr lang="en-US" altLang="zh-CN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Price</a:t>
            </a:r>
            <a:r>
              <a:rPr lang="zh-CN" altLang="en-US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”字段的缺失值</a:t>
            </a:r>
            <a:endParaRPr lang="en-US" altLang="zh-CN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dirty="0">
                <a:solidFill>
                  <a:srgbClr val="46130F"/>
                </a:solidFill>
                <a:latin typeface="+mn-ea"/>
              </a:rPr>
              <a:t>用相同地区，相同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SKU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，其它月份的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Price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的平均值，来填充缺失值。 </a:t>
            </a:r>
            <a:endParaRPr lang="en-US" altLang="zh-CN" dirty="0">
              <a:solidFill>
                <a:srgbClr val="46130F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endParaRPr lang="en-US" altLang="zh-CN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dirty="0">
                <a:solidFill>
                  <a:srgbClr val="46130F"/>
                </a:solidFill>
                <a:latin typeface="+mn-ea"/>
              </a:rPr>
              <a:t>比如，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SKU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为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3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的产品，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 2017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年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9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月在黑龙江的价格缺失。那么就找出这款产品在黑龙江其它月份的所有价格，算出平均值，然后把这个平均值作为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2017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年</a:t>
            </a:r>
            <a:r>
              <a:rPr lang="en-US" altLang="zh-CN" dirty="0">
                <a:solidFill>
                  <a:srgbClr val="46130F"/>
                </a:solidFill>
                <a:latin typeface="+mn-ea"/>
              </a:rPr>
              <a:t>9</a:t>
            </a:r>
            <a:r>
              <a:rPr lang="zh-CN" altLang="en-US" dirty="0">
                <a:solidFill>
                  <a:srgbClr val="46130F"/>
                </a:solidFill>
                <a:latin typeface="+mn-ea"/>
              </a:rPr>
              <a:t>月的价格。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2B88E17E-41A6-423D-8012-2D83496EC5C7}"/>
              </a:ext>
            </a:extLst>
          </p:cNvPr>
          <p:cNvSpPr txBox="1"/>
          <p:nvPr/>
        </p:nvSpPr>
        <p:spPr>
          <a:xfrm>
            <a:off x="482600" y="506501"/>
            <a:ext cx="3581400" cy="743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数据清洗：</a:t>
            </a:r>
            <a:endParaRPr lang="en-US" altLang="zh-CN" sz="32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</p:txBody>
      </p: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64C06460-82BB-447D-8EDA-88130853DF07}"/>
              </a:ext>
            </a:extLst>
          </p:cNvPr>
          <p:cNvCxnSpPr/>
          <p:nvPr/>
        </p:nvCxnSpPr>
        <p:spPr>
          <a:xfrm>
            <a:off x="482600" y="1282700"/>
            <a:ext cx="45466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88245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70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41AC47E4-934C-4121-A7C6-D5A35BB266B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AC745786-0286-4E8F-BCE7-4213B118E472}"/>
              </a:ext>
            </a:extLst>
          </p:cNvPr>
          <p:cNvSpPr txBox="1"/>
          <p:nvPr/>
        </p:nvSpPr>
        <p:spPr>
          <a:xfrm>
            <a:off x="482600" y="506501"/>
            <a:ext cx="3581400" cy="743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探索性分析</a:t>
            </a:r>
            <a:endParaRPr lang="en-US" altLang="zh-CN" sz="32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1CFE991B-C93A-47B3-A9B7-584CC35F87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9884" y="2690580"/>
            <a:ext cx="3663287" cy="244907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D304EC70-B57B-4368-BBB8-BC4EA9531624}"/>
              </a:ext>
            </a:extLst>
          </p:cNvPr>
          <p:cNvCxnSpPr/>
          <p:nvPr/>
        </p:nvCxnSpPr>
        <p:spPr>
          <a:xfrm>
            <a:off x="482600" y="1282700"/>
            <a:ext cx="45466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文本框 5">
            <a:extLst>
              <a:ext uri="{FF2B5EF4-FFF2-40B4-BE49-F238E27FC236}">
                <a16:creationId xmlns:a16="http://schemas.microsoft.com/office/drawing/2014/main" id="{A71BC8F1-75E4-44E9-A4DB-E4E7888BC7ED}"/>
              </a:ext>
            </a:extLst>
          </p:cNvPr>
          <p:cNvSpPr txBox="1"/>
          <p:nvPr/>
        </p:nvSpPr>
        <p:spPr>
          <a:xfrm>
            <a:off x="482600" y="1904998"/>
            <a:ext cx="3581400" cy="21426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0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各区域每年各月总销量走势</a:t>
            </a:r>
            <a:endParaRPr lang="en-US" altLang="zh-CN" sz="10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  <a:p>
            <a:pPr algn="just">
              <a:lnSpc>
                <a:spcPct val="150000"/>
              </a:lnSpc>
            </a:pPr>
            <a:endParaRPr lang="en-US" altLang="zh-CN" sz="1000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从右图图一可知，在 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2016-2019 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这四年中，黑龙江的销量比较稳定，每年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1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月的销量最高，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2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月大幅下滑，然后逐步上升只八月，接下来又下滑。总体上有明显的波动规律。</a:t>
            </a:r>
            <a:endParaRPr lang="en-US" altLang="zh-CN" sz="1000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endParaRPr lang="en-US" altLang="zh-CN" sz="1000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在这四年间，吉林的销量自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2017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年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5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月开始，有明显上升，之后成规律性波动，每年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1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月份销量最高，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2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月和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12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月份的销量相对较低。</a:t>
            </a:r>
            <a:endParaRPr lang="en-US" altLang="zh-CN" sz="1000" dirty="0">
              <a:solidFill>
                <a:srgbClr val="46130F"/>
              </a:solidFill>
              <a:latin typeface="+mn-ea"/>
            </a:endParaRPr>
          </a:p>
        </p:txBody>
      </p:sp>
      <p:pic>
        <p:nvPicPr>
          <p:cNvPr id="7" name="Picture 4" descr="全球啤酒龙头：百威英博Anheuser-Busch InBev(BUD) | 美股之家- 港美股 ...">
            <a:extLst>
              <a:ext uri="{FF2B5EF4-FFF2-40B4-BE49-F238E27FC236}">
                <a16:creationId xmlns:a16="http://schemas.microsoft.com/office/drawing/2014/main" id="{1EE04BDE-F3D4-47DB-AF1A-933DD05C2A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3465" b="92574" l="3688" r="97614">
                        <a14:foregroundMark x1="7592" y1="71287" x2="7592" y2="71287"/>
                        <a14:foregroundMark x1="8243" y1="68812" x2="6074" y2="76733"/>
                        <a14:foregroundMark x1="8026" y1="69802" x2="7592" y2="73762"/>
                        <a14:foregroundMark x1="13449" y1="94554" x2="10195" y2="74752"/>
                        <a14:foregroundMark x1="3688" y1="93564" x2="5206" y2="80198"/>
                        <a14:foregroundMark x1="29067" y1="78218" x2="29067" y2="78218"/>
                        <a14:foregroundMark x1="33189" y1="81683" x2="33189" y2="81683"/>
                        <a14:foregroundMark x1="44252" y1="79208" x2="44252" y2="79208"/>
                        <a14:foregroundMark x1="55098" y1="85644" x2="55098" y2="85644"/>
                        <a14:foregroundMark x1="65293" y1="82178" x2="65293" y2="82178"/>
                        <a14:foregroundMark x1="76789" y1="45050" x2="74837" y2="49505"/>
                        <a14:foregroundMark x1="77223" y1="44059" x2="76789" y2="45050"/>
                        <a14:foregroundMark x1="77440" y1="43564" x2="77223" y2="44059"/>
                        <a14:foregroundMark x1="77657" y1="43069" x2="77440" y2="43564"/>
                        <a14:foregroundMark x1="77874" y1="42574" x2="77657" y2="43069"/>
                        <a14:foregroundMark x1="78091" y1="42079" x2="77874" y2="42574"/>
                        <a14:foregroundMark x1="80477" y1="36634" x2="78091" y2="42079"/>
                        <a14:foregroundMark x1="79393" y1="50495" x2="87202" y2="57426"/>
                        <a14:foregroundMark x1="92842" y1="50495" x2="95445" y2="46040"/>
                        <a14:foregroundMark x1="60738" y1="35644" x2="47505" y2="20792"/>
                        <a14:foregroundMark x1="55965" y1="31683" x2="50108" y2="22772"/>
                        <a14:foregroundMark x1="68113" y1="38119" x2="63124" y2="29703"/>
                        <a14:foregroundMark x1="54891" y1="14851" x2="49892" y2="3960"/>
                        <a14:foregroundMark x1="55573" y1="16337" x2="54891" y2="14851"/>
                        <a14:foregroundMark x1="56255" y1="17822" x2="55573" y2="16337"/>
                        <a14:foregroundMark x1="59436" y1="24752" x2="56255" y2="17822"/>
                        <a14:foregroundMark x1="75705" y1="50495" x2="73536" y2="45050"/>
                        <a14:foregroundMark x1="77440" y1="38614" x2="79610" y2="39604"/>
                        <a14:foregroundMark x1="77440" y1="35149" x2="78308" y2="37129"/>
                        <a14:foregroundMark x1="78959" y1="35644" x2="78959" y2="35644"/>
                        <a14:foregroundMark x1="79176" y1="36139" x2="79176" y2="36139"/>
                        <a14:foregroundMark x1="77223" y1="47525" x2="97614" y2="44059"/>
                        <a14:foregroundMark x1="80694" y1="43069" x2="80694" y2="43069"/>
                        <a14:foregroundMark x1="80694" y1="43564" x2="80694" y2="43564"/>
                        <a14:foregroundMark x1="80694" y1="43564" x2="81562" y2="43069"/>
                        <a14:backgroundMark x1="52711" y1="14851" x2="52711" y2="14851"/>
                        <a14:backgroundMark x1="53579" y1="16337" x2="53579" y2="16337"/>
                        <a14:backgroundMark x1="54230" y1="17822" x2="54230" y2="17822"/>
                        <a14:backgroundMark x1="97180" y1="46040" x2="97180" y2="46040"/>
                        <a14:backgroundMark x1="96529" y1="45545" x2="96529" y2="45545"/>
                        <a14:backgroundMark x1="81128" y1="45050" x2="81128" y2="45050"/>
                        <a14:backgroundMark x1="80260" y1="42079" x2="80260" y2="42079"/>
                        <a14:backgroundMark x1="81128" y1="42574" x2="81128" y2="42574"/>
                        <a14:backgroundMark x1="81345" y1="44059" x2="81345" y2="44059"/>
                        <a14:backgroundMark x1="79610" y1="44059" x2="79610" y2="44059"/>
                        <a14:backgroundMark x1="80477" y1="44059" x2="80477" y2="44059"/>
                        <a14:backgroundMark x1="81562" y1="43069" x2="81562" y2="43069"/>
                        <a14:backgroundMark x1="80694" y1="43564" x2="80694" y2="43564"/>
                        <a14:backgroundMark x1="81128" y1="43069" x2="81128" y2="43069"/>
                        <a14:backgroundMark x1="80694" y1="43069" x2="80694" y2="43069"/>
                        <a14:backgroundMark x1="81128" y1="44059" x2="81128" y2="4405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6468" y="472220"/>
            <a:ext cx="1917058" cy="83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F1F69D01-C356-5D4E-9F49-A3B5DEFABE61}"/>
              </a:ext>
            </a:extLst>
          </p:cNvPr>
          <p:cNvSpPr txBox="1"/>
          <p:nvPr/>
        </p:nvSpPr>
        <p:spPr>
          <a:xfrm>
            <a:off x="482600" y="4381499"/>
            <a:ext cx="3581400" cy="19118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000" b="1" dirty="0">
                <a:solidFill>
                  <a:srgbClr val="AF0203"/>
                </a:solidFill>
                <a:latin typeface="+mj-ea"/>
                <a:cs typeface="+mn-ea"/>
              </a:rPr>
              <a:t>各档次啤酒的销量</a:t>
            </a:r>
            <a:endParaRPr lang="en-US" altLang="zh-CN" sz="1000" b="1" dirty="0">
              <a:solidFill>
                <a:srgbClr val="AF0203"/>
              </a:solidFill>
              <a:latin typeface="+mj-ea"/>
              <a:cs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右图图二显示的是，在 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2016-2019 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这四年中，在黑龙江和吉林两地，各档次啤酒每个月的销量。</a:t>
            </a:r>
            <a:endParaRPr lang="en-US" altLang="zh-CN" sz="1000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endParaRPr lang="en-US" altLang="zh-CN" sz="1000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从中可知，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low-end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这个档次的啤酒销量最高，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middle-end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其次，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high-end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第三，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super high-end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销量最少。值得一提的是，吉林省的低端酒销量，在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2017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年年中有一个很大幅度的上升。</a:t>
            </a:r>
            <a:endParaRPr lang="en-US" altLang="zh-CN" sz="1000" dirty="0">
              <a:solidFill>
                <a:srgbClr val="46130F"/>
              </a:solidFill>
              <a:latin typeface="+mn-ea"/>
            </a:endParaRP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8E9CD42E-2391-694D-AAD2-3411B0D08EE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27646" y="2728064"/>
            <a:ext cx="4015409" cy="237410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84072540-5311-C64E-820C-D76275E44DD3}"/>
              </a:ext>
            </a:extLst>
          </p:cNvPr>
          <p:cNvSpPr txBox="1"/>
          <p:nvPr/>
        </p:nvSpPr>
        <p:spPr>
          <a:xfrm>
            <a:off x="4844264" y="5189412"/>
            <a:ext cx="2254526" cy="2959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图一：各区域每年各月总销量走势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674A228A-184C-0144-9461-355788C9B790}"/>
              </a:ext>
            </a:extLst>
          </p:cNvPr>
          <p:cNvSpPr txBox="1"/>
          <p:nvPr/>
        </p:nvSpPr>
        <p:spPr>
          <a:xfrm>
            <a:off x="9200343" y="5189412"/>
            <a:ext cx="2254526" cy="2959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图二：各档次啤酒的销量</a:t>
            </a:r>
          </a:p>
        </p:txBody>
      </p:sp>
    </p:spTree>
    <p:extLst>
      <p:ext uri="{BB962C8B-B14F-4D97-AF65-F5344CB8AC3E}">
        <p14:creationId xmlns:p14="http://schemas.microsoft.com/office/powerpoint/2010/main" val="8441695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7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AC745786-0286-4E8F-BCE7-4213B118E472}"/>
              </a:ext>
            </a:extLst>
          </p:cNvPr>
          <p:cNvSpPr txBox="1"/>
          <p:nvPr/>
        </p:nvSpPr>
        <p:spPr>
          <a:xfrm>
            <a:off x="482600" y="506501"/>
            <a:ext cx="3581400" cy="743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探索性分析</a:t>
            </a:r>
            <a:endParaRPr lang="en-US" altLang="zh-CN" sz="32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8FF0B64A-F068-4469-B407-B17B10CE67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2240" y="1950720"/>
            <a:ext cx="6691464" cy="455625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4BEBF33E-0A5B-49CD-ACDF-0FFCD17948EA}"/>
              </a:ext>
            </a:extLst>
          </p:cNvPr>
          <p:cNvSpPr txBox="1"/>
          <p:nvPr/>
        </p:nvSpPr>
        <p:spPr>
          <a:xfrm>
            <a:off x="482600" y="3417245"/>
            <a:ext cx="4302760" cy="16809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0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各品牌的包装情况</a:t>
            </a:r>
            <a:endParaRPr lang="en-US" altLang="zh-CN" sz="10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右图显示的是，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2016-2019 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这四年间，在黑龙江和吉林两省中，各品牌分别有多少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SKU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，以及各品牌中的包装情况。</a:t>
            </a:r>
            <a:endParaRPr lang="en-US" altLang="zh-CN" sz="1000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endParaRPr lang="en-US" altLang="zh-CN" sz="1000" dirty="0">
              <a:solidFill>
                <a:srgbClr val="46130F"/>
              </a:solidFill>
              <a:latin typeface="+mn-ea"/>
            </a:endParaRPr>
          </a:p>
          <a:p>
            <a:pPr algn="just">
              <a:lnSpc>
                <a:spcPct val="150000"/>
              </a:lnSpc>
            </a:pP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例如，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low-end1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这个品牌在吉林省共有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23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个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SKU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，其中有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18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个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SKU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的包装为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big bottle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，有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3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个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SKU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的包装为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Small Bottle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，剩下两个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SKU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的包装分别为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Big Can 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和 </a:t>
            </a:r>
            <a:r>
              <a:rPr lang="en-US" altLang="zh-CN" sz="1000" dirty="0">
                <a:solidFill>
                  <a:srgbClr val="46130F"/>
                </a:solidFill>
                <a:latin typeface="+mn-ea"/>
              </a:rPr>
              <a:t>Small Can</a:t>
            </a:r>
            <a:r>
              <a:rPr lang="zh-CN" altLang="en-US" sz="1000" dirty="0">
                <a:solidFill>
                  <a:srgbClr val="46130F"/>
                </a:solidFill>
                <a:latin typeface="+mn-ea"/>
              </a:rPr>
              <a:t>。</a:t>
            </a:r>
            <a:endParaRPr lang="en-US" altLang="zh-CN" sz="1000" dirty="0">
              <a:solidFill>
                <a:srgbClr val="46130F"/>
              </a:solidFill>
              <a:latin typeface="+mn-ea"/>
            </a:endParaRPr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B1DAC62D-7B15-4C81-BAC0-3B077D6DFD7E}"/>
              </a:ext>
            </a:extLst>
          </p:cNvPr>
          <p:cNvCxnSpPr>
            <a:cxnSpLocks/>
          </p:cNvCxnSpPr>
          <p:nvPr/>
        </p:nvCxnSpPr>
        <p:spPr>
          <a:xfrm>
            <a:off x="482600" y="1282700"/>
            <a:ext cx="4587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4" descr="全球啤酒龙头：百威英博Anheuser-Busch InBev(BUD) | 美股之家- 港美股 ...">
            <a:extLst>
              <a:ext uri="{FF2B5EF4-FFF2-40B4-BE49-F238E27FC236}">
                <a16:creationId xmlns:a16="http://schemas.microsoft.com/office/drawing/2014/main" id="{F502C44C-228B-4B99-9811-44FF6473A3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3465" b="92574" l="3688" r="97614">
                        <a14:foregroundMark x1="7592" y1="71287" x2="7592" y2="71287"/>
                        <a14:foregroundMark x1="8243" y1="68812" x2="6074" y2="76733"/>
                        <a14:foregroundMark x1="8026" y1="69802" x2="7592" y2="73762"/>
                        <a14:foregroundMark x1="13449" y1="94554" x2="10195" y2="74752"/>
                        <a14:foregroundMark x1="3688" y1="93564" x2="5206" y2="80198"/>
                        <a14:foregroundMark x1="29067" y1="78218" x2="29067" y2="78218"/>
                        <a14:foregroundMark x1="33189" y1="81683" x2="33189" y2="81683"/>
                        <a14:foregroundMark x1="44252" y1="79208" x2="44252" y2="79208"/>
                        <a14:foregroundMark x1="55098" y1="85644" x2="55098" y2="85644"/>
                        <a14:foregroundMark x1="65293" y1="82178" x2="65293" y2="82178"/>
                        <a14:foregroundMark x1="76789" y1="45050" x2="74837" y2="49505"/>
                        <a14:foregroundMark x1="77223" y1="44059" x2="76789" y2="45050"/>
                        <a14:foregroundMark x1="77440" y1="43564" x2="77223" y2="44059"/>
                        <a14:foregroundMark x1="77657" y1="43069" x2="77440" y2="43564"/>
                        <a14:foregroundMark x1="77874" y1="42574" x2="77657" y2="43069"/>
                        <a14:foregroundMark x1="78091" y1="42079" x2="77874" y2="42574"/>
                        <a14:foregroundMark x1="80477" y1="36634" x2="78091" y2="42079"/>
                        <a14:foregroundMark x1="79393" y1="50495" x2="87202" y2="57426"/>
                        <a14:foregroundMark x1="92842" y1="50495" x2="95445" y2="46040"/>
                        <a14:foregroundMark x1="60738" y1="35644" x2="47505" y2="20792"/>
                        <a14:foregroundMark x1="55965" y1="31683" x2="50108" y2="22772"/>
                        <a14:foregroundMark x1="68113" y1="38119" x2="63124" y2="29703"/>
                        <a14:foregroundMark x1="54891" y1="14851" x2="49892" y2="3960"/>
                        <a14:foregroundMark x1="55573" y1="16337" x2="54891" y2="14851"/>
                        <a14:foregroundMark x1="56255" y1="17822" x2="55573" y2="16337"/>
                        <a14:foregroundMark x1="59436" y1="24752" x2="56255" y2="17822"/>
                        <a14:foregroundMark x1="75705" y1="50495" x2="73536" y2="45050"/>
                        <a14:foregroundMark x1="77440" y1="38614" x2="79610" y2="39604"/>
                        <a14:foregroundMark x1="77440" y1="35149" x2="78308" y2="37129"/>
                        <a14:foregroundMark x1="78959" y1="35644" x2="78959" y2="35644"/>
                        <a14:foregroundMark x1="79176" y1="36139" x2="79176" y2="36139"/>
                        <a14:foregroundMark x1="77223" y1="47525" x2="97614" y2="44059"/>
                        <a14:foregroundMark x1="80694" y1="43069" x2="80694" y2="43069"/>
                        <a14:foregroundMark x1="80694" y1="43564" x2="80694" y2="43564"/>
                        <a14:foregroundMark x1="80694" y1="43564" x2="81562" y2="43069"/>
                        <a14:backgroundMark x1="52711" y1="14851" x2="52711" y2="14851"/>
                        <a14:backgroundMark x1="53579" y1="16337" x2="53579" y2="16337"/>
                        <a14:backgroundMark x1="54230" y1="17822" x2="54230" y2="17822"/>
                        <a14:backgroundMark x1="97180" y1="46040" x2="97180" y2="46040"/>
                        <a14:backgroundMark x1="96529" y1="45545" x2="96529" y2="45545"/>
                        <a14:backgroundMark x1="81128" y1="45050" x2="81128" y2="45050"/>
                        <a14:backgroundMark x1="80260" y1="42079" x2="80260" y2="42079"/>
                        <a14:backgroundMark x1="81128" y1="42574" x2="81128" y2="42574"/>
                        <a14:backgroundMark x1="81345" y1="44059" x2="81345" y2="44059"/>
                        <a14:backgroundMark x1="79610" y1="44059" x2="79610" y2="44059"/>
                        <a14:backgroundMark x1="80477" y1="44059" x2="80477" y2="44059"/>
                        <a14:backgroundMark x1="81562" y1="43069" x2="81562" y2="43069"/>
                        <a14:backgroundMark x1="80694" y1="43564" x2="80694" y2="43564"/>
                        <a14:backgroundMark x1="81128" y1="43069" x2="81128" y2="43069"/>
                        <a14:backgroundMark x1="80694" y1="43069" x2="80694" y2="43069"/>
                        <a14:backgroundMark x1="81128" y1="44059" x2="81128" y2="4405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6468" y="472220"/>
            <a:ext cx="1917058" cy="83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9604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20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>
            <a:extLst>
              <a:ext uri="{FF2B5EF4-FFF2-40B4-BE49-F238E27FC236}">
                <a16:creationId xmlns:a16="http://schemas.microsoft.com/office/drawing/2014/main" id="{28796531-DE7B-4096-9B35-76A6E6A8EA0F}"/>
              </a:ext>
            </a:extLst>
          </p:cNvPr>
          <p:cNvSpPr txBox="1"/>
          <p:nvPr/>
        </p:nvSpPr>
        <p:spPr>
          <a:xfrm>
            <a:off x="2848913" y="2481464"/>
            <a:ext cx="6494173" cy="3372398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6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特征选择</a:t>
            </a:r>
            <a:endParaRPr lang="en-US" altLang="zh-CN" sz="16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1600" dirty="0">
                <a:solidFill>
                  <a:srgbClr val="46130F"/>
                </a:solidFill>
                <a:latin typeface="+mn-ea"/>
              </a:rPr>
              <a:t>Permutation based method: </a:t>
            </a:r>
            <a:r>
              <a:rPr lang="zh-CN" altLang="en-US" sz="1600" dirty="0">
                <a:solidFill>
                  <a:srgbClr val="46130F"/>
                </a:solidFill>
                <a:latin typeface="+mn-ea"/>
              </a:rPr>
              <a:t>选出最重要的几个特征</a:t>
            </a:r>
            <a:endParaRPr lang="en-US" altLang="zh-CN" sz="1600" dirty="0">
              <a:solidFill>
                <a:srgbClr val="46130F"/>
              </a:solidFill>
              <a:latin typeface="+mn-ea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altLang="zh-CN" sz="1600" dirty="0">
              <a:solidFill>
                <a:srgbClr val="46130F"/>
              </a:solidFill>
              <a:latin typeface="+mn-ea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6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特征提取</a:t>
            </a:r>
            <a:endParaRPr lang="en-US" altLang="zh-CN" sz="16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zh-CN" sz="1600" dirty="0"/>
              <a:t>Topic </a:t>
            </a:r>
            <a:r>
              <a:rPr lang="en-US" altLang="zh-CN" sz="1600" dirty="0"/>
              <a:t>M</a:t>
            </a:r>
            <a:r>
              <a:rPr lang="zh-CN" altLang="zh-CN" sz="1600" dirty="0"/>
              <a:t>odelling</a:t>
            </a:r>
            <a:r>
              <a:rPr lang="en-US" altLang="zh-CN" sz="1600" dirty="0"/>
              <a:t> or</a:t>
            </a:r>
            <a:r>
              <a:rPr lang="zh-CN" altLang="en-US" sz="1600" dirty="0"/>
              <a:t> </a:t>
            </a:r>
            <a:r>
              <a:rPr lang="en-US" altLang="zh-CN" sz="1600" dirty="0"/>
              <a:t>PCA</a:t>
            </a:r>
            <a:r>
              <a:rPr lang="zh-CN" altLang="en-US" sz="1600" dirty="0"/>
              <a:t>：降维</a:t>
            </a:r>
            <a:endParaRPr lang="en-US" altLang="zh-CN" sz="1600" dirty="0"/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altLang="zh-CN" sz="1600" dirty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16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Embedding</a:t>
            </a:r>
            <a:r>
              <a:rPr lang="zh-CN" altLang="en-US" sz="16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转换</a:t>
            </a:r>
            <a:endParaRPr lang="en-US" altLang="zh-CN" sz="16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1600" dirty="0"/>
              <a:t>Like </a:t>
            </a:r>
            <a:r>
              <a:rPr lang="en-GB" altLang="zh-CN" sz="1600" dirty="0"/>
              <a:t>word2vec(</a:t>
            </a:r>
            <a:r>
              <a:rPr lang="en-GB" altLang="zh-CN" sz="1600" dirty="0" err="1"/>
              <a:t>Keras</a:t>
            </a:r>
            <a:r>
              <a:rPr lang="en-GB" altLang="zh-CN" sz="1600" dirty="0"/>
              <a:t>), </a:t>
            </a:r>
            <a:r>
              <a:rPr lang="zh-CN" altLang="en-US" sz="1600" dirty="0"/>
              <a:t>相似的产品以及销售门店</a:t>
            </a:r>
            <a:r>
              <a:rPr lang="en-US" altLang="zh-CN" sz="1600" dirty="0"/>
              <a:t> -&gt;</a:t>
            </a:r>
            <a:r>
              <a:rPr lang="zh-CN" altLang="en-US" sz="1600" dirty="0"/>
              <a:t>稠密的向量空间临近</a:t>
            </a:r>
            <a:endParaRPr lang="en-US" altLang="zh-CN" sz="1600" dirty="0"/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CD9E9492-3C8A-4D8D-A91C-099EE85A98A6}"/>
              </a:ext>
            </a:extLst>
          </p:cNvPr>
          <p:cNvSpPr txBox="1"/>
          <p:nvPr/>
        </p:nvSpPr>
        <p:spPr>
          <a:xfrm>
            <a:off x="482600" y="506501"/>
            <a:ext cx="3581400" cy="743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特征工程</a:t>
            </a:r>
            <a:endParaRPr lang="en-US" altLang="zh-CN" sz="32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</p:txBody>
      </p: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2802ABBD-1DD8-410B-BAC2-BA55953B3FB3}"/>
              </a:ext>
            </a:extLst>
          </p:cNvPr>
          <p:cNvCxnSpPr>
            <a:cxnSpLocks/>
          </p:cNvCxnSpPr>
          <p:nvPr/>
        </p:nvCxnSpPr>
        <p:spPr>
          <a:xfrm>
            <a:off x="482600" y="1282700"/>
            <a:ext cx="4587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全球啤酒龙头：百威英博Anheuser-Busch InBev(BUD) | 美股之家- 港美股 ...">
            <a:extLst>
              <a:ext uri="{FF2B5EF4-FFF2-40B4-BE49-F238E27FC236}">
                <a16:creationId xmlns:a16="http://schemas.microsoft.com/office/drawing/2014/main" id="{447A6F55-9A02-4CDE-A15A-1F01641E01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465" b="92574" l="3688" r="97614">
                        <a14:foregroundMark x1="7592" y1="71287" x2="7592" y2="71287"/>
                        <a14:foregroundMark x1="8243" y1="68812" x2="6074" y2="76733"/>
                        <a14:foregroundMark x1="8026" y1="69802" x2="7592" y2="73762"/>
                        <a14:foregroundMark x1="13449" y1="94554" x2="10195" y2="74752"/>
                        <a14:foregroundMark x1="3688" y1="93564" x2="5206" y2="80198"/>
                        <a14:foregroundMark x1="29067" y1="78218" x2="29067" y2="78218"/>
                        <a14:foregroundMark x1="33189" y1="81683" x2="33189" y2="81683"/>
                        <a14:foregroundMark x1="44252" y1="79208" x2="44252" y2="79208"/>
                        <a14:foregroundMark x1="55098" y1="85644" x2="55098" y2="85644"/>
                        <a14:foregroundMark x1="65293" y1="82178" x2="65293" y2="82178"/>
                        <a14:foregroundMark x1="76789" y1="45050" x2="74837" y2="49505"/>
                        <a14:foregroundMark x1="77223" y1="44059" x2="76789" y2="45050"/>
                        <a14:foregroundMark x1="77440" y1="43564" x2="77223" y2="44059"/>
                        <a14:foregroundMark x1="77657" y1="43069" x2="77440" y2="43564"/>
                        <a14:foregroundMark x1="77874" y1="42574" x2="77657" y2="43069"/>
                        <a14:foregroundMark x1="78091" y1="42079" x2="77874" y2="42574"/>
                        <a14:foregroundMark x1="80477" y1="36634" x2="78091" y2="42079"/>
                        <a14:foregroundMark x1="79393" y1="50495" x2="87202" y2="57426"/>
                        <a14:foregroundMark x1="92842" y1="50495" x2="95445" y2="46040"/>
                        <a14:foregroundMark x1="60738" y1="35644" x2="47505" y2="20792"/>
                        <a14:foregroundMark x1="55965" y1="31683" x2="50108" y2="22772"/>
                        <a14:foregroundMark x1="68113" y1="38119" x2="63124" y2="29703"/>
                        <a14:foregroundMark x1="54891" y1="14851" x2="49892" y2="3960"/>
                        <a14:foregroundMark x1="55573" y1="16337" x2="54891" y2="14851"/>
                        <a14:foregroundMark x1="56255" y1="17822" x2="55573" y2="16337"/>
                        <a14:foregroundMark x1="59436" y1="24752" x2="56255" y2="17822"/>
                        <a14:foregroundMark x1="75705" y1="50495" x2="73536" y2="45050"/>
                        <a14:foregroundMark x1="77440" y1="38614" x2="79610" y2="39604"/>
                        <a14:foregroundMark x1="77440" y1="35149" x2="78308" y2="37129"/>
                        <a14:foregroundMark x1="78959" y1="35644" x2="78959" y2="35644"/>
                        <a14:foregroundMark x1="79176" y1="36139" x2="79176" y2="36139"/>
                        <a14:foregroundMark x1="77223" y1="47525" x2="97614" y2="44059"/>
                        <a14:foregroundMark x1="80694" y1="43069" x2="80694" y2="43069"/>
                        <a14:foregroundMark x1="80694" y1="43564" x2="80694" y2="43564"/>
                        <a14:foregroundMark x1="80694" y1="43564" x2="81562" y2="43069"/>
                        <a14:backgroundMark x1="52711" y1="14851" x2="52711" y2="14851"/>
                        <a14:backgroundMark x1="53579" y1="16337" x2="53579" y2="16337"/>
                        <a14:backgroundMark x1="54230" y1="17822" x2="54230" y2="17822"/>
                        <a14:backgroundMark x1="97180" y1="46040" x2="97180" y2="46040"/>
                        <a14:backgroundMark x1="96529" y1="45545" x2="96529" y2="45545"/>
                        <a14:backgroundMark x1="81128" y1="45050" x2="81128" y2="45050"/>
                        <a14:backgroundMark x1="80260" y1="42079" x2="80260" y2="42079"/>
                        <a14:backgroundMark x1="81128" y1="42574" x2="81128" y2="42574"/>
                        <a14:backgroundMark x1="81345" y1="44059" x2="81345" y2="44059"/>
                        <a14:backgroundMark x1="79610" y1="44059" x2="79610" y2="44059"/>
                        <a14:backgroundMark x1="80477" y1="44059" x2="80477" y2="44059"/>
                        <a14:backgroundMark x1="81562" y1="43069" x2="81562" y2="43069"/>
                        <a14:backgroundMark x1="80694" y1="43564" x2="80694" y2="43564"/>
                        <a14:backgroundMark x1="81128" y1="43069" x2="81128" y2="43069"/>
                        <a14:backgroundMark x1="80694" y1="43069" x2="80694" y2="43069"/>
                        <a14:backgroundMark x1="81128" y1="44059" x2="81128" y2="4405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6468" y="472220"/>
            <a:ext cx="1917058" cy="83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001219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20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19122FCD-89B2-4D08-80E0-94B658EB21B3}"/>
              </a:ext>
            </a:extLst>
          </p:cNvPr>
          <p:cNvSpPr txBox="1"/>
          <p:nvPr/>
        </p:nvSpPr>
        <p:spPr>
          <a:xfrm>
            <a:off x="482600" y="506501"/>
            <a:ext cx="3581400" cy="743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b="1" dirty="0">
                <a:solidFill>
                  <a:srgbClr val="AF0203"/>
                </a:solidFill>
                <a:latin typeface="+mj-ea"/>
                <a:ea typeface="+mj-ea"/>
                <a:cs typeface="+mn-ea"/>
              </a:rPr>
              <a:t>建模构想</a:t>
            </a:r>
            <a:endParaRPr lang="en-US" altLang="zh-CN" sz="3200" b="1" dirty="0">
              <a:solidFill>
                <a:srgbClr val="AF0203"/>
              </a:solidFill>
              <a:latin typeface="+mj-ea"/>
              <a:ea typeface="+mj-ea"/>
              <a:cs typeface="+mn-ea"/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F249CDD1-B710-43E9-9778-F9B6B071F23E}"/>
              </a:ext>
            </a:extLst>
          </p:cNvPr>
          <p:cNvCxnSpPr>
            <a:cxnSpLocks/>
          </p:cNvCxnSpPr>
          <p:nvPr/>
        </p:nvCxnSpPr>
        <p:spPr>
          <a:xfrm>
            <a:off x="482600" y="1282700"/>
            <a:ext cx="4587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文本框 3">
            <a:extLst>
              <a:ext uri="{FF2B5EF4-FFF2-40B4-BE49-F238E27FC236}">
                <a16:creationId xmlns:a16="http://schemas.microsoft.com/office/drawing/2014/main" id="{A62D2B7A-E333-427C-9920-354D49DD00D5}"/>
              </a:ext>
            </a:extLst>
          </p:cNvPr>
          <p:cNvSpPr txBox="1"/>
          <p:nvPr/>
        </p:nvSpPr>
        <p:spPr>
          <a:xfrm>
            <a:off x="1289415" y="1445510"/>
            <a:ext cx="9139719" cy="7001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差异性特征训练出来的模型，最终根据线上得分进行加权融合（算法层面，结果层面）</a:t>
            </a:r>
            <a:r>
              <a:rPr lang="en-US" altLang="zh-CN" sz="1400" dirty="0">
                <a:solidFill>
                  <a:srgbClr val="46130F"/>
                </a:solidFill>
                <a:latin typeface="+mn-ea"/>
              </a:rPr>
              <a:t>,</a:t>
            </a:r>
          </a:p>
          <a:p>
            <a:pPr>
              <a:lnSpc>
                <a:spcPct val="150000"/>
              </a:lnSpc>
            </a:pPr>
            <a:r>
              <a:rPr lang="zh-CN" altLang="en-US" sz="1400" dirty="0">
                <a:solidFill>
                  <a:srgbClr val="46130F"/>
                </a:solidFill>
                <a:latin typeface="+mn-ea"/>
              </a:rPr>
              <a:t>将预测出来的结果进行加权平均作为单模型最终结果，保证模型训练结果的稳定性。</a:t>
            </a:r>
            <a:r>
              <a:rPr lang="zh-CN" altLang="en-US" sz="1400" dirty="0"/>
              <a:t>     </a:t>
            </a: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BB2C3C49-13B1-47FB-83FE-EF45B39532B6}"/>
              </a:ext>
            </a:extLst>
          </p:cNvPr>
          <p:cNvGrpSpPr/>
          <p:nvPr/>
        </p:nvGrpSpPr>
        <p:grpSpPr>
          <a:xfrm>
            <a:off x="1245870" y="2325688"/>
            <a:ext cx="8863185" cy="4349543"/>
            <a:chOff x="118635" y="270569"/>
            <a:chExt cx="8863185" cy="4349543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F28799DD-836E-410C-B731-4D27B1F06E97}"/>
                </a:ext>
              </a:extLst>
            </p:cNvPr>
            <p:cNvSpPr/>
            <p:nvPr/>
          </p:nvSpPr>
          <p:spPr>
            <a:xfrm>
              <a:off x="477337" y="416584"/>
              <a:ext cx="142218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黑体" panose="02010609060101010101" pitchFamily="49" charset="-122"/>
                  <a:ea typeface="黑体" panose="02010609060101010101" pitchFamily="49" charset="-122"/>
                  <a:cs typeface="+mn-cs"/>
                </a:rPr>
                <a:t>模型融合</a:t>
              </a:r>
              <a:endPara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黑体" panose="02010609060101010101" pitchFamily="49" charset="-122"/>
                <a:ea typeface="黑体" panose="02010609060101010101" pitchFamily="49" charset="-122"/>
                <a:cs typeface="+mn-cs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矩形 6">
                  <a:extLst>
                    <a:ext uri="{FF2B5EF4-FFF2-40B4-BE49-F238E27FC236}">
                      <a16:creationId xmlns:a16="http://schemas.microsoft.com/office/drawing/2014/main" id="{C125550D-B42E-4DE7-A823-A94FBAADA279}"/>
                    </a:ext>
                  </a:extLst>
                </p:cNvPr>
                <p:cNvSpPr/>
                <p:nvPr/>
              </p:nvSpPr>
              <p:spPr>
                <a:xfrm>
                  <a:off x="118635" y="3860498"/>
                  <a:ext cx="5652589" cy="369332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defTabSz="685800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Y</m:t>
                        </m:r>
                        <m:r>
                          <a:rPr lang="zh-CN" altLang="en-US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（验证集）</m:t>
                        </m:r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4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4</m:t>
                            </m:r>
                          </m:sub>
                        </m:sSub>
                      </m:oMath>
                    </m:oMathPara>
                  </a14:m>
                  <a:endParaRPr lang="zh-CN" altLang="en-US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mc:Choice>
          <mc:Fallback xmlns="">
            <p:sp>
              <p:nvSpPr>
                <p:cNvPr id="34" name="矩形 33">
                  <a:extLst>
                    <a:ext uri="{FF2B5EF4-FFF2-40B4-BE49-F238E27FC236}">
                      <a16:creationId xmlns:a16="http://schemas.microsoft.com/office/drawing/2014/main" id="{7BD2107F-DFAB-49EC-8B88-16CA92418553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18635" y="3860498"/>
                  <a:ext cx="5652589" cy="369332"/>
                </a:xfrm>
                <a:prstGeom prst="rect">
                  <a:avLst/>
                </a:prstGeom>
                <a:blipFill>
                  <a:blip r:embed="rId3"/>
                  <a:stretch>
                    <a:fillRect b="-8197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矩形 7">
                  <a:extLst>
                    <a:ext uri="{FF2B5EF4-FFF2-40B4-BE49-F238E27FC236}">
                      <a16:creationId xmlns:a16="http://schemas.microsoft.com/office/drawing/2014/main" id="{95F48CE6-7814-4A49-B9E1-D008C0253F0C}"/>
                    </a:ext>
                  </a:extLst>
                </p:cNvPr>
                <p:cNvSpPr/>
                <p:nvPr/>
              </p:nvSpPr>
              <p:spPr>
                <a:xfrm>
                  <a:off x="162180" y="4250780"/>
                  <a:ext cx="5565498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defTabSz="685800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en-US" altLang="zh-CN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P</m:t>
                        </m:r>
                        <m:r>
                          <a:rPr lang="zh-CN" altLang="en-US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（测试集）</m:t>
                        </m:r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en-US" altLang="zh-CN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X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𝑋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𝑋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𝑋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4</m:t>
                            </m:r>
                          </m:sub>
                        </m:sSub>
                        <m:r>
                          <a:rPr lang="zh-CN" altLang="en-US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4</m:t>
                            </m:r>
                          </m:sub>
                        </m:sSub>
                      </m:oMath>
                    </m:oMathPara>
                  </a14:m>
                  <a:endParaRPr lang="zh-CN" altLang="en-US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mc:Choice>
          <mc:Fallback xmlns="">
            <p:sp>
              <p:nvSpPr>
                <p:cNvPr id="35" name="矩形 34">
                  <a:extLst>
                    <a:ext uri="{FF2B5EF4-FFF2-40B4-BE49-F238E27FC236}">
                      <a16:creationId xmlns:a16="http://schemas.microsoft.com/office/drawing/2014/main" id="{8A7905F0-82C5-4C4B-9B02-BDDDFE9BE806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62180" y="4250780"/>
                  <a:ext cx="5565498" cy="369332"/>
                </a:xfrm>
                <a:prstGeom prst="rect">
                  <a:avLst/>
                </a:prstGeom>
                <a:blipFill>
                  <a:blip r:embed="rId4"/>
                  <a:stretch>
                    <a:fillRect b="-8197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文本框 8">
              <a:extLst>
                <a:ext uri="{FF2B5EF4-FFF2-40B4-BE49-F238E27FC236}">
                  <a16:creationId xmlns:a16="http://schemas.microsoft.com/office/drawing/2014/main" id="{219DD2FB-DAD0-4C24-818C-1589F2379EB7}"/>
                </a:ext>
              </a:extLst>
            </p:cNvPr>
            <p:cNvSpPr txBox="1"/>
            <p:nvPr/>
          </p:nvSpPr>
          <p:spPr>
            <a:xfrm>
              <a:off x="2893421" y="1492194"/>
              <a:ext cx="110799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/>
              <a:r>
                <a:rPr lang="zh-CN" altLang="en-US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第一层：</a:t>
              </a:r>
            </a:p>
          </p:txBody>
        </p:sp>
        <p:sp>
          <p:nvSpPr>
            <p:cNvPr id="10" name="文本框 9">
              <a:extLst>
                <a:ext uri="{FF2B5EF4-FFF2-40B4-BE49-F238E27FC236}">
                  <a16:creationId xmlns:a16="http://schemas.microsoft.com/office/drawing/2014/main" id="{C6053402-E4FA-4FCF-AD9B-AF31B29F85F5}"/>
                </a:ext>
              </a:extLst>
            </p:cNvPr>
            <p:cNvSpPr txBox="1"/>
            <p:nvPr/>
          </p:nvSpPr>
          <p:spPr>
            <a:xfrm>
              <a:off x="2830904" y="2913789"/>
              <a:ext cx="117051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/>
              <a:r>
                <a:rPr lang="zh-CN" altLang="en-US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第二层：</a:t>
              </a:r>
            </a:p>
          </p:txBody>
        </p:sp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898D643A-664B-4408-9F9A-59811C3C2730}"/>
                </a:ext>
              </a:extLst>
            </p:cNvPr>
            <p:cNvSpPr txBox="1"/>
            <p:nvPr/>
          </p:nvSpPr>
          <p:spPr>
            <a:xfrm>
              <a:off x="268966" y="2278086"/>
              <a:ext cx="226215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/>
              <a:r>
                <a:rPr lang="zh-CN" altLang="en-US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线性回归拟合验证集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2" name="矩形 11">
                  <a:extLst>
                    <a:ext uri="{FF2B5EF4-FFF2-40B4-BE49-F238E27FC236}">
                      <a16:creationId xmlns:a16="http://schemas.microsoft.com/office/drawing/2014/main" id="{7D01B443-2844-4B0F-A932-ED587B3B37A0}"/>
                    </a:ext>
                  </a:extLst>
                </p:cNvPr>
                <p:cNvSpPr/>
                <p:nvPr/>
              </p:nvSpPr>
              <p:spPr>
                <a:xfrm>
                  <a:off x="366568" y="2860866"/>
                  <a:ext cx="1824694" cy="276999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defTabSz="685800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en-US" altLang="zh-CN" sz="12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f</m:t>
                        </m:r>
                        <m:r>
                          <a:rPr lang="zh-CN" altLang="en-US" sz="12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（</m:t>
                        </m:r>
                        <m:r>
                          <a:rPr lang="en-US" altLang="zh-CN" sz="12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𝑋𝑖</m:t>
                        </m:r>
                        <m:r>
                          <a:rPr lang="zh-CN" altLang="en-US" sz="12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）</m:t>
                        </m:r>
                        <m:r>
                          <a:rPr lang="zh-CN" altLang="en-US" sz="120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sSub>
                          <m:sSubPr>
                            <m:ctrlPr>
                              <a:rPr lang="zh-CN" altLang="en-US" sz="1200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sz="1200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US" altLang="zh-CN" sz="1200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i</m:t>
                            </m:r>
                          </m:sub>
                        </m:sSub>
                        <m:r>
                          <a:rPr lang="zh-CN" altLang="en-US" sz="120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zh-CN" altLang="en-US" sz="1200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sz="1200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US" altLang="zh-CN" sz="1200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i</m:t>
                            </m:r>
                          </m:sub>
                        </m:sSub>
                      </m:oMath>
                    </m:oMathPara>
                  </a14:m>
                  <a:endParaRPr lang="zh-CN" altLang="en-US" sz="120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mc:Choice>
          <mc:Fallback xmlns="">
            <p:sp>
              <p:nvSpPr>
                <p:cNvPr id="40" name="矩形 39">
                  <a:extLst>
                    <a:ext uri="{FF2B5EF4-FFF2-40B4-BE49-F238E27FC236}">
                      <a16:creationId xmlns:a16="http://schemas.microsoft.com/office/drawing/2014/main" id="{4A6F32E6-2281-49C3-A52A-35C1FAAA3B60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66568" y="2860866"/>
                  <a:ext cx="1824694" cy="276999"/>
                </a:xfrm>
                <a:prstGeom prst="rect">
                  <a:avLst/>
                </a:prstGeom>
                <a:blipFill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27A7820F-6DA4-4C42-A34A-32A5BAF1F2EB}"/>
                </a:ext>
              </a:extLst>
            </p:cNvPr>
            <p:cNvSpPr txBox="1"/>
            <p:nvPr/>
          </p:nvSpPr>
          <p:spPr>
            <a:xfrm>
              <a:off x="5033670" y="270569"/>
              <a:ext cx="2587554" cy="369332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en-US" altLang="zh-CN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Stacking</a:t>
              </a:r>
              <a:r>
                <a:rPr lang="zh-CN" altLang="en-US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模型融合流程</a:t>
              </a:r>
            </a:p>
          </p:txBody>
        </p:sp>
        <p:pic>
          <p:nvPicPr>
            <p:cNvPr id="14" name="图片 13">
              <a:extLst>
                <a:ext uri="{FF2B5EF4-FFF2-40B4-BE49-F238E27FC236}">
                  <a16:creationId xmlns:a16="http://schemas.microsoft.com/office/drawing/2014/main" id="{DBBC08BD-E29B-433E-857D-7D42B436F67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010047" y="751629"/>
              <a:ext cx="4971773" cy="3593417"/>
            </a:xfrm>
            <a:prstGeom prst="rect">
              <a:avLst/>
            </a:prstGeom>
          </p:spPr>
        </p:pic>
        <p:pic>
          <p:nvPicPr>
            <p:cNvPr id="15" name="图片 14">
              <a:extLst>
                <a:ext uri="{FF2B5EF4-FFF2-40B4-BE49-F238E27FC236}">
                  <a16:creationId xmlns:a16="http://schemas.microsoft.com/office/drawing/2014/main" id="{187BD970-20AF-47ED-A723-E0687F1792F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49717" y="1108583"/>
              <a:ext cx="849837" cy="863327"/>
            </a:xfrm>
            <a:prstGeom prst="rect">
              <a:avLst/>
            </a:prstGeom>
          </p:spPr>
        </p:pic>
      </p:grpSp>
      <p:pic>
        <p:nvPicPr>
          <p:cNvPr id="16" name="Picture 4" descr="全球啤酒龙头：百威英博Anheuser-Busch InBev(BUD) | 美股之家- 港美股 ...">
            <a:extLst>
              <a:ext uri="{FF2B5EF4-FFF2-40B4-BE49-F238E27FC236}">
                <a16:creationId xmlns:a16="http://schemas.microsoft.com/office/drawing/2014/main" id="{31991C1B-62DC-4D2A-B744-D88E489C13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3465" b="92574" l="3688" r="97614">
                        <a14:foregroundMark x1="7592" y1="71287" x2="7592" y2="71287"/>
                        <a14:foregroundMark x1="8243" y1="68812" x2="6074" y2="76733"/>
                        <a14:foregroundMark x1="8026" y1="69802" x2="7592" y2="73762"/>
                        <a14:foregroundMark x1="13449" y1="94554" x2="10195" y2="74752"/>
                        <a14:foregroundMark x1="3688" y1="93564" x2="5206" y2="80198"/>
                        <a14:foregroundMark x1="29067" y1="78218" x2="29067" y2="78218"/>
                        <a14:foregroundMark x1="33189" y1="81683" x2="33189" y2="81683"/>
                        <a14:foregroundMark x1="44252" y1="79208" x2="44252" y2="79208"/>
                        <a14:foregroundMark x1="55098" y1="85644" x2="55098" y2="85644"/>
                        <a14:foregroundMark x1="65293" y1="82178" x2="65293" y2="82178"/>
                        <a14:foregroundMark x1="76789" y1="45050" x2="74837" y2="49505"/>
                        <a14:foregroundMark x1="77223" y1="44059" x2="76789" y2="45050"/>
                        <a14:foregroundMark x1="77440" y1="43564" x2="77223" y2="44059"/>
                        <a14:foregroundMark x1="77657" y1="43069" x2="77440" y2="43564"/>
                        <a14:foregroundMark x1="77874" y1="42574" x2="77657" y2="43069"/>
                        <a14:foregroundMark x1="78091" y1="42079" x2="77874" y2="42574"/>
                        <a14:foregroundMark x1="80477" y1="36634" x2="78091" y2="42079"/>
                        <a14:foregroundMark x1="79393" y1="50495" x2="87202" y2="57426"/>
                        <a14:foregroundMark x1="92842" y1="50495" x2="95445" y2="46040"/>
                        <a14:foregroundMark x1="60738" y1="35644" x2="47505" y2="20792"/>
                        <a14:foregroundMark x1="55965" y1="31683" x2="50108" y2="22772"/>
                        <a14:foregroundMark x1="68113" y1="38119" x2="63124" y2="29703"/>
                        <a14:foregroundMark x1="54891" y1="14851" x2="49892" y2="3960"/>
                        <a14:foregroundMark x1="55573" y1="16337" x2="54891" y2="14851"/>
                        <a14:foregroundMark x1="56255" y1="17822" x2="55573" y2="16337"/>
                        <a14:foregroundMark x1="59436" y1="24752" x2="56255" y2="17822"/>
                        <a14:foregroundMark x1="75705" y1="50495" x2="73536" y2="45050"/>
                        <a14:foregroundMark x1="77440" y1="38614" x2="79610" y2="39604"/>
                        <a14:foregroundMark x1="77440" y1="35149" x2="78308" y2="37129"/>
                        <a14:foregroundMark x1="78959" y1="35644" x2="78959" y2="35644"/>
                        <a14:foregroundMark x1="79176" y1="36139" x2="79176" y2="36139"/>
                        <a14:foregroundMark x1="77223" y1="47525" x2="97614" y2="44059"/>
                        <a14:foregroundMark x1="80694" y1="43069" x2="80694" y2="43069"/>
                        <a14:foregroundMark x1="80694" y1="43564" x2="80694" y2="43564"/>
                        <a14:foregroundMark x1="80694" y1="43564" x2="81562" y2="43069"/>
                        <a14:backgroundMark x1="52711" y1="14851" x2="52711" y2="14851"/>
                        <a14:backgroundMark x1="53579" y1="16337" x2="53579" y2="16337"/>
                        <a14:backgroundMark x1="54230" y1="17822" x2="54230" y2="17822"/>
                        <a14:backgroundMark x1="97180" y1="46040" x2="97180" y2="46040"/>
                        <a14:backgroundMark x1="96529" y1="45545" x2="96529" y2="45545"/>
                        <a14:backgroundMark x1="81128" y1="45050" x2="81128" y2="45050"/>
                        <a14:backgroundMark x1="80260" y1="42079" x2="80260" y2="42079"/>
                        <a14:backgroundMark x1="81128" y1="42574" x2="81128" y2="42574"/>
                        <a14:backgroundMark x1="81345" y1="44059" x2="81345" y2="44059"/>
                        <a14:backgroundMark x1="79610" y1="44059" x2="79610" y2="44059"/>
                        <a14:backgroundMark x1="80477" y1="44059" x2="80477" y2="44059"/>
                        <a14:backgroundMark x1="81562" y1="43069" x2="81562" y2="43069"/>
                        <a14:backgroundMark x1="80694" y1="43564" x2="80694" y2="43564"/>
                        <a14:backgroundMark x1="81128" y1="43069" x2="81128" y2="43069"/>
                        <a14:backgroundMark x1="80694" y1="43069" x2="80694" y2="43069"/>
                        <a14:backgroundMark x1="81128" y1="44059" x2="81128" y2="4405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6468" y="472220"/>
            <a:ext cx="1917058" cy="83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5546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27708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PICTURE" val="#122843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F2A200"/>
      </a:accent1>
      <a:accent2>
        <a:srgbClr val="202950"/>
      </a:accent2>
      <a:accent3>
        <a:srgbClr val="1A7AB1"/>
      </a:accent3>
      <a:accent4>
        <a:srgbClr val="656A7E"/>
      </a:accent4>
      <a:accent5>
        <a:srgbClr val="999898"/>
      </a:accent5>
      <a:accent6>
        <a:srgbClr val="B8B8B8"/>
      </a:accent6>
      <a:hlink>
        <a:srgbClr val="026CA2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2A200"/>
    </a:accent1>
    <a:accent2>
      <a:srgbClr val="202950"/>
    </a:accent2>
    <a:accent3>
      <a:srgbClr val="1A7AB1"/>
    </a:accent3>
    <a:accent4>
      <a:srgbClr val="656A7E"/>
    </a:accent4>
    <a:accent5>
      <a:srgbClr val="999898"/>
    </a:accent5>
    <a:accent6>
      <a:srgbClr val="B8B8B8"/>
    </a:accent6>
    <a:hlink>
      <a:srgbClr val="026CA2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2A200"/>
    </a:accent1>
    <a:accent2>
      <a:srgbClr val="202950"/>
    </a:accent2>
    <a:accent3>
      <a:srgbClr val="1A7AB1"/>
    </a:accent3>
    <a:accent4>
      <a:srgbClr val="656A7E"/>
    </a:accent4>
    <a:accent5>
      <a:srgbClr val="999898"/>
    </a:accent5>
    <a:accent6>
      <a:srgbClr val="B8B8B8"/>
    </a:accent6>
    <a:hlink>
      <a:srgbClr val="026CA2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2A200"/>
    </a:accent1>
    <a:accent2>
      <a:srgbClr val="202950"/>
    </a:accent2>
    <a:accent3>
      <a:srgbClr val="1A7AB1"/>
    </a:accent3>
    <a:accent4>
      <a:srgbClr val="656A7E"/>
    </a:accent4>
    <a:accent5>
      <a:srgbClr val="999898"/>
    </a:accent5>
    <a:accent6>
      <a:srgbClr val="B8B8B8"/>
    </a:accent6>
    <a:hlink>
      <a:srgbClr val="026CA2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634</TotalTime>
  <Words>971</Words>
  <Application>Microsoft Office PowerPoint</Application>
  <PresentationFormat>宽屏</PresentationFormat>
  <Paragraphs>99</Paragraphs>
  <Slides>10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20" baseType="lpstr">
      <vt:lpstr>等线</vt:lpstr>
      <vt:lpstr>黑体</vt:lpstr>
      <vt:lpstr>微软雅黑</vt:lpstr>
      <vt:lpstr>Arial</vt:lpstr>
      <vt:lpstr>Arial Black</vt:lpstr>
      <vt:lpstr>Calibri</vt:lpstr>
      <vt:lpstr>Cambria Math</vt:lpstr>
      <vt:lpstr>Wingdings</vt:lpstr>
      <vt:lpstr>主题5</vt:lpstr>
      <vt:lpstr>think-cell Slide</vt:lpstr>
      <vt:lpstr>2020百威校园挑战赛 数据技术方向 UNNC小分队 小组成员：赵宇，朱明远，白诗琪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THANK YOU Challenge Accepted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Mingyuan ZHU (20219292)</cp:lastModifiedBy>
  <cp:revision>52</cp:revision>
  <cp:lastPrinted>2019-05-23T16:00:00Z</cp:lastPrinted>
  <dcterms:created xsi:type="dcterms:W3CDTF">2019-05-23T16:00:00Z</dcterms:created>
  <dcterms:modified xsi:type="dcterms:W3CDTF">2020-07-07T23:57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